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embeddings/oleObject2.bin" ContentType="application/vnd.openxmlformats-officedocument.oleObject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embeddings/oleObject3.bin" ContentType="application/vnd.openxmlformats-officedocument.oleObject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embeddings/oleObject4.bin" ContentType="application/vnd.openxmlformats-officedocument.oleObject"/>
  <Override PartName="/ppt/tags/tag34.xml" ContentType="application/vnd.openxmlformats-officedocument.presentationml.tags+xml"/>
  <Override PartName="/ppt/embeddings/oleObject5.bin" ContentType="application/vnd.openxmlformats-officedocument.oleObject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embeddings/oleObject6.bin" ContentType="application/vnd.openxmlformats-officedocument.oleObject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embeddings/oleObject7.bin" ContentType="application/vnd.openxmlformats-officedocument.oleObject"/>
  <Override PartName="/ppt/tags/tag56.xml" ContentType="application/vnd.openxmlformats-officedocument.presentationml.tags+xml"/>
  <Override PartName="/ppt/embeddings/oleObject8.bin" ContentType="application/vnd.openxmlformats-officedocument.oleObject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embeddings/oleObject9.bin" ContentType="application/vnd.openxmlformats-officedocument.oleObject"/>
  <Override PartName="/ppt/tags/tag76.xml" ContentType="application/vnd.openxmlformats-officedocument.presentationml.tags+xml"/>
  <Override PartName="/ppt/embeddings/oleObject10.bin" ContentType="application/vnd.openxmlformats-officedocument.oleObject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embeddings/oleObject11.bin" ContentType="application/vnd.openxmlformats-officedocument.oleObject"/>
  <Override PartName="/ppt/tags/tag96.xml" ContentType="application/vnd.openxmlformats-officedocument.presentationml.tags+xml"/>
  <Override PartName="/ppt/embeddings/oleObject12.bin" ContentType="application/vnd.openxmlformats-officedocument.oleObject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embeddings/oleObject13.bin" ContentType="application/vnd.openxmlformats-officedocument.oleObject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6.xml" ContentType="application/vnd.openxmlformats-officedocument.them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embeddings/oleObject14.bin" ContentType="application/vnd.openxmlformats-officedocument.oleObject"/>
  <Override PartName="/ppt/tags/tag118.xml" ContentType="application/vnd.openxmlformats-officedocument.presentationml.tags+xml"/>
  <Override PartName="/ppt/embeddings/oleObject15.bin" ContentType="application/vnd.openxmlformats-officedocument.oleObject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embeddings/oleObject16.bin" ContentType="application/vnd.openxmlformats-officedocument.oleObject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7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embeddings/oleObject17.bin" ContentType="application/vnd.openxmlformats-officedocument.oleObject"/>
  <Override PartName="/ppt/tags/tag141.xml" ContentType="application/vnd.openxmlformats-officedocument.presentationml.tags+xml"/>
  <Override PartName="/ppt/embeddings/oleObject18.bin" ContentType="application/vnd.openxmlformats-officedocument.oleObject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8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embeddings/oleObject19.bin" ContentType="application/vnd.openxmlformats-officedocument.oleObject"/>
  <Override PartName="/ppt/tags/tag161.xml" ContentType="application/vnd.openxmlformats-officedocument.presentationml.tags+xml"/>
  <Override PartName="/ppt/embeddings/oleObject20.bin" ContentType="application/vnd.openxmlformats-officedocument.oleObject"/>
  <Override PartName="/ppt/tags/tag162.xml" ContentType="application/vnd.openxmlformats-officedocument.presentationml.tags+xml"/>
  <Override PartName="/ppt/embeddings/oleObject21.bin" ContentType="application/vnd.openxmlformats-officedocument.oleObject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9.xml" ContentType="application/vnd.openxmlformats-officedocument.them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embeddings/oleObject22.bin" ContentType="application/vnd.openxmlformats-officedocument.oleObject"/>
  <Override PartName="/ppt/tags/tag182.xml" ContentType="application/vnd.openxmlformats-officedocument.presentationml.tags+xml"/>
  <Override PartName="/ppt/embeddings/oleObject23.bin" ContentType="application/vnd.openxmlformats-officedocument.oleObject"/>
  <Override PartName="/ppt/tags/tag183.xml" ContentType="application/vnd.openxmlformats-officedocument.presentationml.tags+xml"/>
  <Override PartName="/ppt/embeddings/oleObject24.bin" ContentType="application/vnd.openxmlformats-officedocument.oleObject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0.xml" ContentType="application/vnd.openxmlformats-officedocument.them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embeddings/oleObject25.bin" ContentType="application/vnd.openxmlformats-officedocument.oleObject"/>
  <Override PartName="/ppt/tags/tag203.xml" ContentType="application/vnd.openxmlformats-officedocument.presentationml.tags+xml"/>
  <Override PartName="/ppt/embeddings/oleObject26.bin" ContentType="application/vnd.openxmlformats-officedocument.oleObject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1.xml" ContentType="application/vnd.openxmlformats-officedocument.them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embeddings/oleObject27.bin" ContentType="application/vnd.openxmlformats-officedocument.oleObject"/>
  <Override PartName="/ppt/tags/tag223.xml" ContentType="application/vnd.openxmlformats-officedocument.presentationml.tags+xml"/>
  <Override PartName="/ppt/embeddings/oleObject28.bin" ContentType="application/vnd.openxmlformats-officedocument.oleObject"/>
  <Override PartName="/ppt/theme/theme12.xml" ContentType="application/vnd.openxmlformats-officedocument.theme+xml"/>
  <Override PartName="/ppt/tags/tag224.xml" ContentType="application/vnd.openxmlformats-officedocument.presentationml.tags+xml"/>
  <Override PartName="/ppt/embeddings/oleObject29.bin" ContentType="application/vnd.openxmlformats-officedocument.oleObject"/>
  <Override PartName="/ppt/notesSlides/notesSlide1.xml" ContentType="application/vnd.openxmlformats-officedocument.presentationml.notesSlide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1"/>
    <p:sldMasterId id="2147483676" r:id="rId2"/>
    <p:sldMasterId id="2147483691" r:id="rId3"/>
    <p:sldMasterId id="2147483696" r:id="rId4"/>
    <p:sldMasterId id="2147483699" r:id="rId5"/>
    <p:sldMasterId id="2147483707" r:id="rId6"/>
    <p:sldMasterId id="2147483715" r:id="rId7"/>
    <p:sldMasterId id="2147483719" r:id="rId8"/>
    <p:sldMasterId id="2147483735" r:id="rId9"/>
    <p:sldMasterId id="2147483740" r:id="rId10"/>
    <p:sldMasterId id="2147483786" r:id="rId11"/>
  </p:sldMasterIdLst>
  <p:notesMasterIdLst>
    <p:notesMasterId r:id="rId26"/>
  </p:notesMasterIdLst>
  <p:sldIdLst>
    <p:sldId id="308" r:id="rId12"/>
    <p:sldId id="314" r:id="rId13"/>
    <p:sldId id="317" r:id="rId14"/>
    <p:sldId id="312" r:id="rId15"/>
    <p:sldId id="322" r:id="rId16"/>
    <p:sldId id="330" r:id="rId17"/>
    <p:sldId id="311" r:id="rId18"/>
    <p:sldId id="325" r:id="rId19"/>
    <p:sldId id="331" r:id="rId20"/>
    <p:sldId id="323" r:id="rId21"/>
    <p:sldId id="324" r:id="rId22"/>
    <p:sldId id="310" r:id="rId23"/>
    <p:sldId id="309" r:id="rId24"/>
    <p:sldId id="328" r:id="rId25"/>
  </p:sldIdLst>
  <p:sldSz cx="9144000" cy="6858000" type="screen4x3"/>
  <p:notesSz cx="6797675" cy="9926638"/>
  <p:custDataLst>
    <p:tags r:id="rId28"/>
  </p:custDataLst>
  <p:defaultTextStyle>
    <a:defPPr>
      <a:defRPr lang="da-DK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43">
          <p15:clr>
            <a:srgbClr val="A4A3A4"/>
          </p15:clr>
        </p15:guide>
        <p15:guide id="2" pos="2880">
          <p15:clr>
            <a:srgbClr val="A4A3A4"/>
          </p15:clr>
        </p15:guide>
        <p15:guide id="3" pos="243">
          <p15:clr>
            <a:srgbClr val="A4A3A4"/>
          </p15:clr>
        </p15:guide>
        <p15:guide id="4" pos="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6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58232"/>
    <a:srgbClr val="7D0000"/>
    <a:srgbClr val="C30F10"/>
    <a:srgbClr val="DDDDDD"/>
    <a:srgbClr val="C0C0C0"/>
    <a:srgbClr val="EAEAEA"/>
    <a:srgbClr val="E7E7E1"/>
    <a:srgbClr val="EEEEEA"/>
    <a:srgbClr val="787D78"/>
    <a:srgbClr val="2626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3" autoAdjust="0"/>
    <p:restoredTop sz="93964" autoAdjust="0"/>
  </p:normalViewPr>
  <p:slideViewPr>
    <p:cSldViewPr>
      <p:cViewPr varScale="1">
        <p:scale>
          <a:sx n="107" d="100"/>
          <a:sy n="107" d="100"/>
        </p:scale>
        <p:origin x="-832" y="-96"/>
      </p:cViewPr>
      <p:guideLst>
        <p:guide orient="horz" pos="243"/>
        <p:guide pos="2880"/>
        <p:guide pos="243"/>
        <p:guide pos="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-3312" y="-90"/>
      </p:cViewPr>
      <p:guideLst>
        <p:guide orient="horz" pos="3126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9.xml"/><Relationship Id="rId21" Type="http://schemas.openxmlformats.org/officeDocument/2006/relationships/slide" Target="slides/slide10.xml"/><Relationship Id="rId22" Type="http://schemas.openxmlformats.org/officeDocument/2006/relationships/slide" Target="slides/slide11.xml"/><Relationship Id="rId23" Type="http://schemas.openxmlformats.org/officeDocument/2006/relationships/slide" Target="slides/slide12.xml"/><Relationship Id="rId24" Type="http://schemas.openxmlformats.org/officeDocument/2006/relationships/slide" Target="slides/slide13.xml"/><Relationship Id="rId25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27" Type="http://schemas.openxmlformats.org/officeDocument/2006/relationships/printerSettings" Target="printerSettings/printerSettings1.bin"/><Relationship Id="rId28" Type="http://schemas.openxmlformats.org/officeDocument/2006/relationships/tags" Target="tags/tag1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presProps" Target="presProps.xml"/><Relationship Id="rId31" Type="http://schemas.openxmlformats.org/officeDocument/2006/relationships/viewProps" Target="viewProps.xml"/><Relationship Id="rId32" Type="http://schemas.openxmlformats.org/officeDocument/2006/relationships/theme" Target="theme/theme1.xml"/><Relationship Id="rId9" Type="http://schemas.openxmlformats.org/officeDocument/2006/relationships/slideMaster" Target="slideMasters/slideMaster9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33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" Target="slides/slide1.xml"/><Relationship Id="rId13" Type="http://schemas.openxmlformats.org/officeDocument/2006/relationships/slide" Target="slides/slide2.xml"/><Relationship Id="rId14" Type="http://schemas.openxmlformats.org/officeDocument/2006/relationships/slide" Target="slides/slide3.xml"/><Relationship Id="rId15" Type="http://schemas.openxmlformats.org/officeDocument/2006/relationships/slide" Target="slides/slide4.xml"/><Relationship Id="rId16" Type="http://schemas.openxmlformats.org/officeDocument/2006/relationships/slide" Target="slides/slide5.xml"/><Relationship Id="rId17" Type="http://schemas.openxmlformats.org/officeDocument/2006/relationships/slide" Target="slides/slide6.xml"/><Relationship Id="rId18" Type="http://schemas.openxmlformats.org/officeDocument/2006/relationships/slide" Target="slides/slide7.xml"/><Relationship Id="rId19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6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08" tIns="46054" rIns="92108" bIns="46054" numCol="1" anchor="t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2" y="0"/>
            <a:ext cx="294566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08" tIns="46054" rIns="92108" bIns="46054" numCol="1" anchor="t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4"/>
            <a:ext cx="5438140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08" tIns="46054" rIns="92108" bIns="460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i-FI" noProof="0"/>
              <a:t>Click to edit Master text styles</a:t>
            </a:r>
          </a:p>
          <a:p>
            <a:pPr lvl="1"/>
            <a:r>
              <a:rPr lang="fi-FI" noProof="0"/>
              <a:t>Second level</a:t>
            </a:r>
          </a:p>
          <a:p>
            <a:pPr lvl="2"/>
            <a:r>
              <a:rPr lang="fi-FI" noProof="0"/>
              <a:t>Third level</a:t>
            </a:r>
          </a:p>
          <a:p>
            <a:pPr lvl="3"/>
            <a:r>
              <a:rPr lang="fi-FI" noProof="0"/>
              <a:t>Fourth level</a:t>
            </a:r>
          </a:p>
          <a:p>
            <a:pPr lvl="4"/>
            <a:r>
              <a:rPr lang="fi-FI" noProof="0"/>
              <a:t>Fifth level</a:t>
            </a:r>
          </a:p>
        </p:txBody>
      </p:sp>
      <p:sp>
        <p:nvSpPr>
          <p:cNvPr id="307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3"/>
            <a:ext cx="294566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08" tIns="46054" rIns="92108" bIns="46054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307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2" y="9428583"/>
            <a:ext cx="294566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08" tIns="46054" rIns="92108" bIns="46054" numCol="1" anchor="b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0EAA2392-EDAE-4E89-9F86-516214C2A846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6242951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AA2392-EDAE-4E89-9F86-516214C2A846}" type="slidenum">
              <a:rPr lang="fi-FI" smtClean="0"/>
              <a:pPr>
                <a:defRPr/>
              </a:pPr>
              <a:t>7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100139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E7F125-E25C-403F-89C4-DA70F8943C7C}" type="slidenum">
              <a:rPr lang="da-DK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46088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tags" Target="../tags/tag5.xml"/><Relationship Id="rId5" Type="http://schemas.openxmlformats.org/officeDocument/2006/relationships/tags" Target="../tags/tag6.xml"/><Relationship Id="rId6" Type="http://schemas.openxmlformats.org/officeDocument/2006/relationships/tags" Target="../tags/tag7.xml"/><Relationship Id="rId7" Type="http://schemas.openxmlformats.org/officeDocument/2006/relationships/tags" Target="../tags/tag8.xml"/><Relationship Id="rId8" Type="http://schemas.openxmlformats.org/officeDocument/2006/relationships/tags" Target="../tags/tag9.xml"/><Relationship Id="rId9" Type="http://schemas.openxmlformats.org/officeDocument/2006/relationships/slideMaster" Target="../slideMasters/slideMaster1.xml"/><Relationship Id="rId10" Type="http://schemas.openxmlformats.org/officeDocument/2006/relationships/oleObject" Target="../embeddings/oleObject2.bin"/><Relationship Id="rId11" Type="http://schemas.openxmlformats.org/officeDocument/2006/relationships/image" Target="../media/image1.jpe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4.emf"/><Relationship Id="rId6" Type="http://schemas.openxmlformats.org/officeDocument/2006/relationships/image" Target="../media/image5.jpeg"/><Relationship Id="rId7" Type="http://schemas.openxmlformats.org/officeDocument/2006/relationships/image" Target="../media/image6.png"/><Relationship Id="rId8" Type="http://schemas.openxmlformats.org/officeDocument/2006/relationships/image" Target="../media/image3.png"/><Relationship Id="rId1" Type="http://schemas.openxmlformats.org/officeDocument/2006/relationships/vmlDrawing" Target="../drawings/vmlDrawing5.vml"/><Relationship Id="rId2" Type="http://schemas.openxmlformats.org/officeDocument/2006/relationships/tags" Target="../tags/tag3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7.emf"/><Relationship Id="rId1" Type="http://schemas.openxmlformats.org/officeDocument/2006/relationships/vmlDrawing" Target="../drawings/vmlDrawing6.vml"/><Relationship Id="rId2" Type="http://schemas.openxmlformats.org/officeDocument/2006/relationships/tags" Target="../tags/tag3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4.emf"/><Relationship Id="rId6" Type="http://schemas.openxmlformats.org/officeDocument/2006/relationships/image" Target="../media/image5.jpeg"/><Relationship Id="rId7" Type="http://schemas.openxmlformats.org/officeDocument/2006/relationships/image" Target="../media/image6.png"/><Relationship Id="rId8" Type="http://schemas.openxmlformats.org/officeDocument/2006/relationships/image" Target="../media/image3.png"/><Relationship Id="rId1" Type="http://schemas.openxmlformats.org/officeDocument/2006/relationships/vmlDrawing" Target="../drawings/vmlDrawing8.vml"/><Relationship Id="rId2" Type="http://schemas.openxmlformats.org/officeDocument/2006/relationships/tags" Target="../tags/tag5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4.emf"/><Relationship Id="rId6" Type="http://schemas.openxmlformats.org/officeDocument/2006/relationships/image" Target="../media/image5.jpeg"/><Relationship Id="rId7" Type="http://schemas.openxmlformats.org/officeDocument/2006/relationships/image" Target="../media/image6.png"/><Relationship Id="rId8" Type="http://schemas.openxmlformats.org/officeDocument/2006/relationships/image" Target="../media/image3.png"/><Relationship Id="rId1" Type="http://schemas.openxmlformats.org/officeDocument/2006/relationships/vmlDrawing" Target="../drawings/vmlDrawing10.vml"/><Relationship Id="rId2" Type="http://schemas.openxmlformats.org/officeDocument/2006/relationships/tags" Target="../tags/tag7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4.emf"/><Relationship Id="rId6" Type="http://schemas.openxmlformats.org/officeDocument/2006/relationships/image" Target="../media/image5.jpeg"/><Relationship Id="rId7" Type="http://schemas.openxmlformats.org/officeDocument/2006/relationships/image" Target="../media/image6.png"/><Relationship Id="rId8" Type="http://schemas.openxmlformats.org/officeDocument/2006/relationships/image" Target="../media/image3.png"/><Relationship Id="rId1" Type="http://schemas.openxmlformats.org/officeDocument/2006/relationships/vmlDrawing" Target="../drawings/vmlDrawing12.vml"/><Relationship Id="rId2" Type="http://schemas.openxmlformats.org/officeDocument/2006/relationships/tags" Target="../tags/tag9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tags" Target="../tags/tag97.xml"/><Relationship Id="rId2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1.jpeg"/><Relationship Id="rId1" Type="http://schemas.openxmlformats.org/officeDocument/2006/relationships/vmlDrawing" Target="../drawings/vmlDrawing13.vml"/><Relationship Id="rId2" Type="http://schemas.openxmlformats.org/officeDocument/2006/relationships/tags" Target="../tags/tag98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4.emf"/><Relationship Id="rId6" Type="http://schemas.openxmlformats.org/officeDocument/2006/relationships/image" Target="../media/image5.jpeg"/><Relationship Id="rId7" Type="http://schemas.openxmlformats.org/officeDocument/2006/relationships/image" Target="../media/image6.png"/><Relationship Id="rId8" Type="http://schemas.openxmlformats.org/officeDocument/2006/relationships/image" Target="../media/image3.png"/><Relationship Id="rId1" Type="http://schemas.openxmlformats.org/officeDocument/2006/relationships/vmlDrawing" Target="../drawings/vmlDrawing15.vml"/><Relationship Id="rId2" Type="http://schemas.openxmlformats.org/officeDocument/2006/relationships/tags" Target="../tags/tag11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tags" Target="../tags/tag119.xml"/><Relationship Id="rId2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tags" Target="../tags/tag120.xml"/><Relationship Id="rId2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1.jpeg"/><Relationship Id="rId1" Type="http://schemas.openxmlformats.org/officeDocument/2006/relationships/vmlDrawing" Target="../drawings/vmlDrawing16.vml"/><Relationship Id="rId2" Type="http://schemas.openxmlformats.org/officeDocument/2006/relationships/tags" Target="../tags/tag12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4.emf"/><Relationship Id="rId6" Type="http://schemas.openxmlformats.org/officeDocument/2006/relationships/image" Target="../media/image5.jpeg"/><Relationship Id="rId7" Type="http://schemas.openxmlformats.org/officeDocument/2006/relationships/image" Target="../media/image6.png"/><Relationship Id="rId8" Type="http://schemas.openxmlformats.org/officeDocument/2006/relationships/image" Target="../media/image3.png"/><Relationship Id="rId1" Type="http://schemas.openxmlformats.org/officeDocument/2006/relationships/vmlDrawing" Target="../drawings/vmlDrawing18.vml"/><Relationship Id="rId2" Type="http://schemas.openxmlformats.org/officeDocument/2006/relationships/tags" Target="../tags/tag14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4.emf"/><Relationship Id="rId6" Type="http://schemas.openxmlformats.org/officeDocument/2006/relationships/image" Target="../media/image5.jpeg"/><Relationship Id="rId7" Type="http://schemas.openxmlformats.org/officeDocument/2006/relationships/image" Target="../media/image6.png"/><Relationship Id="rId8" Type="http://schemas.openxmlformats.org/officeDocument/2006/relationships/image" Target="../media/image3.png"/><Relationship Id="rId1" Type="http://schemas.openxmlformats.org/officeDocument/2006/relationships/vmlDrawing" Target="../drawings/vmlDrawing20.vml"/><Relationship Id="rId2" Type="http://schemas.openxmlformats.org/officeDocument/2006/relationships/tags" Target="../tags/tag16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21.bin"/><Relationship Id="rId5" Type="http://schemas.openxmlformats.org/officeDocument/2006/relationships/image" Target="../media/image8.emf"/><Relationship Id="rId1" Type="http://schemas.openxmlformats.org/officeDocument/2006/relationships/vmlDrawing" Target="../drawings/vmlDrawing21.vml"/><Relationship Id="rId2" Type="http://schemas.openxmlformats.org/officeDocument/2006/relationships/tags" Target="../tags/tag16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23.bin"/><Relationship Id="rId5" Type="http://schemas.openxmlformats.org/officeDocument/2006/relationships/image" Target="../media/image4.emf"/><Relationship Id="rId6" Type="http://schemas.openxmlformats.org/officeDocument/2006/relationships/image" Target="../media/image5.jpeg"/><Relationship Id="rId7" Type="http://schemas.openxmlformats.org/officeDocument/2006/relationships/image" Target="../media/image6.png"/><Relationship Id="rId8" Type="http://schemas.openxmlformats.org/officeDocument/2006/relationships/image" Target="../media/image3.png"/><Relationship Id="rId1" Type="http://schemas.openxmlformats.org/officeDocument/2006/relationships/vmlDrawing" Target="../drawings/vmlDrawing23.vml"/><Relationship Id="rId2" Type="http://schemas.openxmlformats.org/officeDocument/2006/relationships/tags" Target="../tags/tag18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24.bin"/><Relationship Id="rId5" Type="http://schemas.openxmlformats.org/officeDocument/2006/relationships/image" Target="../media/image8.emf"/><Relationship Id="rId1" Type="http://schemas.openxmlformats.org/officeDocument/2006/relationships/vmlDrawing" Target="../drawings/vmlDrawing24.vml"/><Relationship Id="rId2" Type="http://schemas.openxmlformats.org/officeDocument/2006/relationships/tags" Target="../tags/tag18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4.emf"/><Relationship Id="rId6" Type="http://schemas.openxmlformats.org/officeDocument/2006/relationships/image" Target="../media/image5.jpeg"/><Relationship Id="rId7" Type="http://schemas.openxmlformats.org/officeDocument/2006/relationships/image" Target="../media/image6.png"/><Relationship Id="rId8" Type="http://schemas.openxmlformats.org/officeDocument/2006/relationships/image" Target="../media/image3.png"/><Relationship Id="rId1" Type="http://schemas.openxmlformats.org/officeDocument/2006/relationships/vmlDrawing" Target="../drawings/vmlDrawing26.vml"/><Relationship Id="rId2" Type="http://schemas.openxmlformats.org/officeDocument/2006/relationships/tags" Target="../tags/tag20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4.emf"/><Relationship Id="rId6" Type="http://schemas.openxmlformats.org/officeDocument/2006/relationships/image" Target="../media/image5.jpeg"/><Relationship Id="rId7" Type="http://schemas.openxmlformats.org/officeDocument/2006/relationships/image" Target="../media/image6.png"/><Relationship Id="rId8" Type="http://schemas.openxmlformats.org/officeDocument/2006/relationships/image" Target="../media/image3.png"/><Relationship Id="rId1" Type="http://schemas.openxmlformats.org/officeDocument/2006/relationships/vmlDrawing" Target="../drawings/vmlDrawing28.vml"/><Relationship Id="rId2" Type="http://schemas.openxmlformats.org/officeDocument/2006/relationships/tags" Target="../tags/tag22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4" Type="http://schemas.openxmlformats.org/officeDocument/2006/relationships/tags" Target="../tags/tag12.xml"/><Relationship Id="rId5" Type="http://schemas.openxmlformats.org/officeDocument/2006/relationships/tags" Target="../tags/tag13.xml"/><Relationship Id="rId6" Type="http://schemas.openxmlformats.org/officeDocument/2006/relationships/tags" Target="../tags/tag14.xml"/><Relationship Id="rId7" Type="http://schemas.openxmlformats.org/officeDocument/2006/relationships/slideMaster" Target="../slideMasters/slideMaster1.xml"/><Relationship Id="rId8" Type="http://schemas.openxmlformats.org/officeDocument/2006/relationships/oleObject" Target="../embeddings/oleObject3.bin"/><Relationship Id="rId9" Type="http://schemas.openxmlformats.org/officeDocument/2006/relationships/image" Target="../media/image1.jpeg"/><Relationship Id="rId1" Type="http://schemas.openxmlformats.org/officeDocument/2006/relationships/vmlDrawing" Target="../drawings/vmlDrawing3.vml"/><Relationship Id="rId2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lede 7" descr="DONG Energy CMYK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7380312" y="6165304"/>
            <a:ext cx="1389600" cy="444881"/>
          </a:xfrm>
          <a:prstGeom prst="rect">
            <a:avLst/>
          </a:prstGeom>
        </p:spPr>
      </p:pic>
      <p:sp>
        <p:nvSpPr>
          <p:cNvPr id="10" name="Rektangel 16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41288" y="790575"/>
            <a:ext cx="8626475" cy="17526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algn="ctr">
            <a:noFill/>
            <a:round/>
            <a:headEnd/>
            <a:tailEnd/>
          </a:ln>
        </p:spPr>
        <p:txBody>
          <a:bodyPr lIns="36000" tIns="36000" rIns="36000" bIns="36000"/>
          <a:lstStyle/>
          <a:p>
            <a:endParaRPr lang="da-DK">
              <a:solidFill>
                <a:schemeClr val="bg1"/>
              </a:solidFill>
            </a:endParaRPr>
          </a:p>
        </p:txBody>
      </p:sp>
      <p:sp>
        <p:nvSpPr>
          <p:cNvPr id="13" name="Freeform 9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140425" y="393700"/>
            <a:ext cx="8628926" cy="5821382"/>
          </a:xfrm>
          <a:custGeom>
            <a:avLst/>
            <a:gdLst>
              <a:gd name="T0" fmla="*/ 41 w 5354"/>
              <a:gd name="T1" fmla="*/ 0 h 3612"/>
              <a:gd name="T2" fmla="*/ 41 w 5354"/>
              <a:gd name="T3" fmla="*/ 0 h 3612"/>
              <a:gd name="T4" fmla="*/ 34 w 5354"/>
              <a:gd name="T5" fmla="*/ 2 h 3612"/>
              <a:gd name="T6" fmla="*/ 29 w 5354"/>
              <a:gd name="T7" fmla="*/ 2 h 3612"/>
              <a:gd name="T8" fmla="*/ 20 w 5354"/>
              <a:gd name="T9" fmla="*/ 5 h 3612"/>
              <a:gd name="T10" fmla="*/ 12 w 5354"/>
              <a:gd name="T11" fmla="*/ 11 h 3612"/>
              <a:gd name="T12" fmla="*/ 7 w 5354"/>
              <a:gd name="T13" fmla="*/ 18 h 3612"/>
              <a:gd name="T14" fmla="*/ 2 w 5354"/>
              <a:gd name="T15" fmla="*/ 27 h 3612"/>
              <a:gd name="T16" fmla="*/ 0 w 5354"/>
              <a:gd name="T17" fmla="*/ 41 h 3612"/>
              <a:gd name="T18" fmla="*/ 0 w 5354"/>
              <a:gd name="T19" fmla="*/ 3578 h 3612"/>
              <a:gd name="T20" fmla="*/ 0 w 5354"/>
              <a:gd name="T21" fmla="*/ 3578 h 3612"/>
              <a:gd name="T22" fmla="*/ 0 w 5354"/>
              <a:gd name="T23" fmla="*/ 3585 h 3612"/>
              <a:gd name="T24" fmla="*/ 2 w 5354"/>
              <a:gd name="T25" fmla="*/ 3591 h 3612"/>
              <a:gd name="T26" fmla="*/ 5 w 5354"/>
              <a:gd name="T27" fmla="*/ 3598 h 3612"/>
              <a:gd name="T28" fmla="*/ 9 w 5354"/>
              <a:gd name="T29" fmla="*/ 3605 h 3612"/>
              <a:gd name="T30" fmla="*/ 16 w 5354"/>
              <a:gd name="T31" fmla="*/ 3609 h 3612"/>
              <a:gd name="T32" fmla="*/ 27 w 5354"/>
              <a:gd name="T33" fmla="*/ 3612 h 3612"/>
              <a:gd name="T34" fmla="*/ 39 w 5354"/>
              <a:gd name="T35" fmla="*/ 3610 h 3612"/>
              <a:gd name="T36" fmla="*/ 5315 w 5354"/>
              <a:gd name="T37" fmla="*/ 2555 h 3612"/>
              <a:gd name="T38" fmla="*/ 5315 w 5354"/>
              <a:gd name="T39" fmla="*/ 2555 h 3612"/>
              <a:gd name="T40" fmla="*/ 5320 w 5354"/>
              <a:gd name="T41" fmla="*/ 2553 h 3612"/>
              <a:gd name="T42" fmla="*/ 5327 w 5354"/>
              <a:gd name="T43" fmla="*/ 2551 h 3612"/>
              <a:gd name="T44" fmla="*/ 5334 w 5354"/>
              <a:gd name="T45" fmla="*/ 2546 h 3612"/>
              <a:gd name="T46" fmla="*/ 5342 w 5354"/>
              <a:gd name="T47" fmla="*/ 2541 h 3612"/>
              <a:gd name="T48" fmla="*/ 5349 w 5354"/>
              <a:gd name="T49" fmla="*/ 2532 h 3612"/>
              <a:gd name="T50" fmla="*/ 5352 w 5354"/>
              <a:gd name="T51" fmla="*/ 2521 h 3612"/>
              <a:gd name="T52" fmla="*/ 5354 w 5354"/>
              <a:gd name="T53" fmla="*/ 2506 h 3612"/>
              <a:gd name="T54" fmla="*/ 5354 w 5354"/>
              <a:gd name="T55" fmla="*/ 41 h 3612"/>
              <a:gd name="T56" fmla="*/ 5354 w 5354"/>
              <a:gd name="T57" fmla="*/ 41 h 3612"/>
              <a:gd name="T58" fmla="*/ 5354 w 5354"/>
              <a:gd name="T59" fmla="*/ 34 h 3612"/>
              <a:gd name="T60" fmla="*/ 5352 w 5354"/>
              <a:gd name="T61" fmla="*/ 29 h 3612"/>
              <a:gd name="T62" fmla="*/ 5349 w 5354"/>
              <a:gd name="T63" fmla="*/ 21 h 3612"/>
              <a:gd name="T64" fmla="*/ 5345 w 5354"/>
              <a:gd name="T65" fmla="*/ 12 h 3612"/>
              <a:gd name="T66" fmla="*/ 5336 w 5354"/>
              <a:gd name="T67" fmla="*/ 7 h 3612"/>
              <a:gd name="T68" fmla="*/ 5327 w 5354"/>
              <a:gd name="T69" fmla="*/ 2 h 3612"/>
              <a:gd name="T70" fmla="*/ 5313 w 5354"/>
              <a:gd name="T71" fmla="*/ 0 h 3612"/>
              <a:gd name="T72" fmla="*/ 41 w 5354"/>
              <a:gd name="T73" fmla="*/ 0 h 361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5354"/>
              <a:gd name="T112" fmla="*/ 0 h 3612"/>
              <a:gd name="T113" fmla="*/ 5354 w 5354"/>
              <a:gd name="T114" fmla="*/ 3612 h 361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5354" h="3612">
                <a:moveTo>
                  <a:pt x="41" y="0"/>
                </a:moveTo>
                <a:lnTo>
                  <a:pt x="41" y="0"/>
                </a:lnTo>
                <a:lnTo>
                  <a:pt x="34" y="2"/>
                </a:lnTo>
                <a:lnTo>
                  <a:pt x="29" y="2"/>
                </a:lnTo>
                <a:lnTo>
                  <a:pt x="20" y="5"/>
                </a:lnTo>
                <a:lnTo>
                  <a:pt x="12" y="11"/>
                </a:lnTo>
                <a:lnTo>
                  <a:pt x="7" y="18"/>
                </a:lnTo>
                <a:lnTo>
                  <a:pt x="2" y="27"/>
                </a:lnTo>
                <a:lnTo>
                  <a:pt x="0" y="41"/>
                </a:lnTo>
                <a:lnTo>
                  <a:pt x="0" y="3578"/>
                </a:lnTo>
                <a:lnTo>
                  <a:pt x="0" y="3585"/>
                </a:lnTo>
                <a:lnTo>
                  <a:pt x="2" y="3591"/>
                </a:lnTo>
                <a:lnTo>
                  <a:pt x="5" y="3598"/>
                </a:lnTo>
                <a:lnTo>
                  <a:pt x="9" y="3605"/>
                </a:lnTo>
                <a:lnTo>
                  <a:pt x="16" y="3609"/>
                </a:lnTo>
                <a:lnTo>
                  <a:pt x="27" y="3612"/>
                </a:lnTo>
                <a:lnTo>
                  <a:pt x="39" y="3610"/>
                </a:lnTo>
                <a:lnTo>
                  <a:pt x="5315" y="2555"/>
                </a:lnTo>
                <a:lnTo>
                  <a:pt x="5320" y="2553"/>
                </a:lnTo>
                <a:lnTo>
                  <a:pt x="5327" y="2551"/>
                </a:lnTo>
                <a:lnTo>
                  <a:pt x="5334" y="2546"/>
                </a:lnTo>
                <a:lnTo>
                  <a:pt x="5342" y="2541"/>
                </a:lnTo>
                <a:lnTo>
                  <a:pt x="5349" y="2532"/>
                </a:lnTo>
                <a:lnTo>
                  <a:pt x="5352" y="2521"/>
                </a:lnTo>
                <a:lnTo>
                  <a:pt x="5354" y="2506"/>
                </a:lnTo>
                <a:lnTo>
                  <a:pt x="5354" y="41"/>
                </a:lnTo>
                <a:lnTo>
                  <a:pt x="5354" y="34"/>
                </a:lnTo>
                <a:lnTo>
                  <a:pt x="5352" y="29"/>
                </a:lnTo>
                <a:lnTo>
                  <a:pt x="5349" y="21"/>
                </a:lnTo>
                <a:lnTo>
                  <a:pt x="5345" y="12"/>
                </a:lnTo>
                <a:lnTo>
                  <a:pt x="5336" y="7"/>
                </a:lnTo>
                <a:lnTo>
                  <a:pt x="5327" y="2"/>
                </a:lnTo>
                <a:lnTo>
                  <a:pt x="5313" y="0"/>
                </a:lnTo>
                <a:lnTo>
                  <a:pt x="41" y="0"/>
                </a:lnTo>
                <a:close/>
              </a:path>
            </a:pathLst>
          </a:custGeom>
          <a:noFill/>
          <a:ln w="31750">
            <a:solidFill>
              <a:srgbClr val="DDDDDD"/>
            </a:solidFill>
            <a:round/>
            <a:headEnd/>
            <a:tailEnd/>
          </a:ln>
        </p:spPr>
        <p:txBody>
          <a:bodyPr/>
          <a:lstStyle/>
          <a:p>
            <a:endParaRPr lang="da-DK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66713" y="1995488"/>
            <a:ext cx="7916400" cy="407988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da-DK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  <p:custDataLst>
              <p:tags r:id="rId7"/>
            </p:custDataLst>
          </p:nvPr>
        </p:nvSpPr>
        <p:spPr>
          <a:xfrm>
            <a:off x="366713" y="957263"/>
            <a:ext cx="7916400" cy="900101"/>
          </a:xfrm>
        </p:spPr>
        <p:txBody>
          <a:bodyPr anchor="t" anchorCtr="0"/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11" name="Rectangle 21"/>
          <p:cNvSpPr>
            <a:spLocks noGrp="1" noChangeArrowheads="1"/>
          </p:cNvSpPr>
          <p:nvPr>
            <p:ph type="sldNum" sz="quarter" idx="11"/>
            <p:custDataLst>
              <p:tags r:id="rId8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BC9F50-B589-44C3-BEA0-60E720946C98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17532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338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6671"/>
            <a:ext cx="9144000" cy="5113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40" name="Picture 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90575"/>
            <a:ext cx="9144000" cy="174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23528" y="3052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800" b="1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23528" y="177475"/>
            <a:ext cx="241252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03.03.2015 18:58 GMT Standard Time</a:t>
            </a:r>
            <a:endParaRPr lang="en-GB" sz="80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23528" y="324424"/>
            <a:ext cx="238526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24.02.2015 08:23 W. Europe Standard Time</a:t>
            </a:r>
            <a:endParaRPr lang="en-GB" sz="80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347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165304"/>
            <a:ext cx="139065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 userDrawn="1"/>
        </p:nvSpPr>
        <p:spPr bwMode="auto">
          <a:xfrm>
            <a:off x="8100348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GB" sz="8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323528" y="6129393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23528" y="1026403"/>
            <a:ext cx="8613648" cy="36933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400" b="1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23528" y="1733550"/>
            <a:ext cx="8613648" cy="246221"/>
          </a:xfrm>
        </p:spPr>
        <p:txBody>
          <a:bodyPr>
            <a:spAutoFit/>
          </a:bodyPr>
          <a:lstStyle>
            <a:lvl1pPr>
              <a:defRPr sz="1600"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690890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4493453" y="645296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GB" smtClean="0">
                <a:solidFill>
                  <a:srgbClr val="929497"/>
                </a:solidFill>
                <a:cs typeface="+mn-cs"/>
              </a:rPr>
              <a:pPr algn="ctr"/>
              <a:t>‹#›</a:t>
            </a:fld>
            <a:endParaRPr lang="en-GB">
              <a:solidFill>
                <a:srgbClr val="929497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2195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55" y="1990667"/>
            <a:ext cx="4389768" cy="10772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F21DC4-A50C-4C5E-AEF3-BA6F3745C0B1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9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360001" y="338400"/>
            <a:ext cx="842724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978857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ne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0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7"/>
          <p:cNvSpPr>
            <a:spLocks noGrp="1"/>
          </p:cNvSpPr>
          <p:nvPr>
            <p:ph type="title"/>
          </p:nvPr>
        </p:nvSpPr>
        <p:spPr>
          <a:xfrm>
            <a:off x="362215" y="338400"/>
            <a:ext cx="8407385" cy="6876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6524624"/>
            <a:ext cx="287325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38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2"/>
            <p:custDataLst>
              <p:tags r:id="rId3"/>
            </p:custDataLst>
          </p:nvPr>
        </p:nvSpPr>
        <p:spPr bwMode="auto">
          <a:xfrm>
            <a:off x="4759246" y="6524625"/>
            <a:ext cx="2575823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38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05" y="6524624"/>
            <a:ext cx="3725169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38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0" name="Content Placeholder 5"/>
          <p:cNvSpPr>
            <a:spLocks noGrp="1"/>
          </p:cNvSpPr>
          <p:nvPr>
            <p:ph idx="1"/>
          </p:nvPr>
        </p:nvSpPr>
        <p:spPr>
          <a:xfrm>
            <a:off x="364881" y="1189038"/>
            <a:ext cx="8415703" cy="4749800"/>
          </a:xfrm>
          <a:prstGeom prst="rect">
            <a:avLst/>
          </a:prstGeom>
        </p:spPr>
        <p:txBody>
          <a:bodyPr lIns="0" tIns="0" rIns="0"/>
          <a:lstStyle>
            <a:lvl1pPr marL="164127" indent="-164127">
              <a:spcBef>
                <a:spcPts val="231"/>
              </a:spcBef>
              <a:buSzPct val="85000"/>
              <a:buFont typeface="Wingdings" panose="05000000000000000000" pitchFamily="2" charset="2"/>
              <a:buChar char="§"/>
              <a:defRPr sz="1108" baseline="0">
                <a:latin typeface="+mj-lt"/>
              </a:defRPr>
            </a:lvl1pPr>
            <a:lvl2pPr marL="331185" indent="-165593">
              <a:buFont typeface="Arial" panose="020B0604020202020204" pitchFamily="34" charset="0"/>
              <a:buChar char="-"/>
              <a:defRPr sz="1108">
                <a:latin typeface="+mj-lt"/>
              </a:defRPr>
            </a:lvl2pPr>
            <a:lvl3pPr marL="496778" indent="-165593">
              <a:buFont typeface="Courier New" panose="02070309020205020404" pitchFamily="49" charset="0"/>
              <a:buChar char="o"/>
              <a:defRPr sz="1108">
                <a:latin typeface="+mj-lt"/>
              </a:defRPr>
            </a:lvl3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888928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Klik for at redigere titeltypografi i master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83BBE8-7695-4F9F-8C12-04C5D5B6D044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0825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heading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7"/>
          <p:cNvSpPr>
            <a:spLocks noGrp="1"/>
          </p:cNvSpPr>
          <p:nvPr>
            <p:ph type="title"/>
          </p:nvPr>
        </p:nvSpPr>
        <p:spPr>
          <a:xfrm>
            <a:off x="362215" y="338400"/>
            <a:ext cx="8407385" cy="338554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759246" y="6524625"/>
            <a:ext cx="2575823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38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4430316" y="6528831"/>
            <a:ext cx="287325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738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10812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338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6673"/>
            <a:ext cx="9144000" cy="5113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40" name="Picture 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90577"/>
            <a:ext cx="9144000" cy="174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23529" y="30529"/>
            <a:ext cx="817531" cy="113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738" b="1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23529" y="177477"/>
            <a:ext cx="2444580" cy="113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38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27.03.2015 19:10 W. Europe Standard Time</a:t>
            </a:r>
            <a:endParaRPr lang="en-GB" sz="738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23529" y="324426"/>
            <a:ext cx="2181687" cy="113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38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24.02.2015 08:23 W. Europe Standard Time</a:t>
            </a:r>
            <a:endParaRPr lang="en-GB" sz="738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347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165304"/>
            <a:ext cx="139065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 userDrawn="1"/>
        </p:nvSpPr>
        <p:spPr bwMode="auto">
          <a:xfrm>
            <a:off x="810034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43276"/>
            <a:endParaRPr lang="en-GB" sz="738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323528" y="6150447"/>
            <a:ext cx="5036084" cy="472965"/>
            <a:chOff x="1663" y="3119"/>
            <a:chExt cx="3109" cy="292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19"/>
              <a:ext cx="3109" cy="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292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88"/>
              <a:ext cx="3109" cy="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292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23528" y="1026403"/>
            <a:ext cx="8613648" cy="34086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215" b="1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23528" y="1733551"/>
            <a:ext cx="8613648" cy="227306"/>
          </a:xfrm>
        </p:spPr>
        <p:txBody>
          <a:bodyPr>
            <a:spAutoFit/>
          </a:bodyPr>
          <a:lstStyle>
            <a:lvl1pPr>
              <a:defRPr sz="1477"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687674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4499063" y="6458893"/>
            <a:ext cx="145874" cy="14202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GB" sz="923" smtClean="0">
                <a:solidFill>
                  <a:srgbClr val="929497"/>
                </a:solidFill>
                <a:cs typeface="+mn-cs"/>
              </a:rPr>
              <a:pPr algn="ctr"/>
              <a:t>‹#›</a:t>
            </a:fld>
            <a:endParaRPr lang="en-GB" sz="923">
              <a:solidFill>
                <a:srgbClr val="929497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60919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76151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338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6671"/>
            <a:ext cx="9144000" cy="5113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40" name="Picture 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90575"/>
            <a:ext cx="9144000" cy="174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23528" y="3052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800" b="1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23528" y="177475"/>
            <a:ext cx="241252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03.03.2015 18:58 GMT Standard Time</a:t>
            </a:r>
            <a:endParaRPr lang="en-GB" sz="80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23528" y="324424"/>
            <a:ext cx="238526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24.02.2015 08:23 W. Europe Standard Time</a:t>
            </a:r>
            <a:endParaRPr lang="en-GB" sz="80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347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165304"/>
            <a:ext cx="139065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 userDrawn="1"/>
        </p:nvSpPr>
        <p:spPr bwMode="auto">
          <a:xfrm>
            <a:off x="8100348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GB" sz="8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323528" y="6129393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23528" y="1026403"/>
            <a:ext cx="8613648" cy="36933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400" b="1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23528" y="1733550"/>
            <a:ext cx="8613648" cy="246221"/>
          </a:xfrm>
        </p:spPr>
        <p:txBody>
          <a:bodyPr>
            <a:spAutoFit/>
          </a:bodyPr>
          <a:lstStyle>
            <a:lvl1pPr>
              <a:defRPr sz="1600"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049419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F21DC4-A50C-4C5E-AEF3-BA6F3745C0B1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9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360000" y="338400"/>
            <a:ext cx="8427248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da-DK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4493453" y="645296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GB" smtClean="0">
                <a:solidFill>
                  <a:srgbClr val="929497"/>
                </a:solidFill>
                <a:cs typeface="+mn-cs"/>
              </a:rPr>
              <a:pPr algn="ctr"/>
              <a:t>‹#›</a:t>
            </a:fld>
            <a:endParaRPr lang="en-GB">
              <a:solidFill>
                <a:srgbClr val="929497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29596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338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6673"/>
            <a:ext cx="9144000" cy="5113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40" name="Picture 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90577"/>
            <a:ext cx="9144000" cy="174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23529" y="30529"/>
            <a:ext cx="817531" cy="113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738" b="1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23529" y="177477"/>
            <a:ext cx="2444580" cy="113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38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27.03.2015 19:10 W. Europe Standard Time</a:t>
            </a:r>
            <a:endParaRPr lang="en-GB" sz="738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23529" y="324426"/>
            <a:ext cx="2181687" cy="113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38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24.02.2015 08:23 W. Europe Standard Time</a:t>
            </a:r>
            <a:endParaRPr lang="en-GB" sz="738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347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165304"/>
            <a:ext cx="139065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 userDrawn="1"/>
        </p:nvSpPr>
        <p:spPr bwMode="auto">
          <a:xfrm>
            <a:off x="810034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43276"/>
            <a:endParaRPr lang="en-GB" sz="738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323528" y="6150447"/>
            <a:ext cx="5036084" cy="472965"/>
            <a:chOff x="1663" y="3119"/>
            <a:chExt cx="3109" cy="292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19"/>
              <a:ext cx="3109" cy="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292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88"/>
              <a:ext cx="3109" cy="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292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23528" y="1026403"/>
            <a:ext cx="8613648" cy="34086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215" b="1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23528" y="1733551"/>
            <a:ext cx="8613648" cy="227306"/>
          </a:xfrm>
        </p:spPr>
        <p:txBody>
          <a:bodyPr>
            <a:spAutoFit/>
          </a:bodyPr>
          <a:lstStyle>
            <a:lvl1pPr>
              <a:defRPr sz="1477"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241445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4499063" y="6458893"/>
            <a:ext cx="145874" cy="14202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GB" sz="923" smtClean="0">
                <a:solidFill>
                  <a:srgbClr val="929497"/>
                </a:solidFill>
                <a:cs typeface="+mn-cs"/>
              </a:rPr>
              <a:pPr algn="ctr"/>
              <a:t>‹#›</a:t>
            </a:fld>
            <a:endParaRPr lang="en-GB" sz="923">
              <a:solidFill>
                <a:srgbClr val="929497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3558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46237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46018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62215" y="1188000"/>
            <a:ext cx="8417354" cy="4750839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462" tIns="33231" rIns="66462" bIns="33231" rtlCol="0" anchor="t"/>
          <a:lstStyle/>
          <a:p>
            <a:pPr algn="ctr" fontAlgn="auto">
              <a:spcBef>
                <a:spcPts val="0"/>
              </a:spcBef>
              <a:spcAft>
                <a:spcPts val="277"/>
              </a:spcAft>
            </a:pPr>
            <a:endParaRPr lang="en-GB" sz="923" b="1" dirty="0">
              <a:solidFill>
                <a:srgbClr val="000000"/>
              </a:solidFill>
            </a:endParaRPr>
          </a:p>
        </p:txBody>
      </p:sp>
      <p:sp>
        <p:nvSpPr>
          <p:cNvPr id="17" name="Content Placeholder 5"/>
          <p:cNvSpPr>
            <a:spLocks noGrp="1"/>
          </p:cNvSpPr>
          <p:nvPr>
            <p:ph idx="1"/>
          </p:nvPr>
        </p:nvSpPr>
        <p:spPr>
          <a:xfrm>
            <a:off x="504416" y="1322057"/>
            <a:ext cx="8136837" cy="511487"/>
          </a:xfrm>
          <a:prstGeom prst="rect">
            <a:avLst/>
          </a:prstGeom>
        </p:spPr>
        <p:txBody>
          <a:bodyPr lIns="0" tIns="0" rIns="0"/>
          <a:lstStyle>
            <a:lvl1pPr marL="164127" indent="-164127">
              <a:spcBef>
                <a:spcPts val="231"/>
              </a:spcBef>
              <a:buSzPct val="85000"/>
              <a:buFont typeface="Wingdings" panose="05000000000000000000" pitchFamily="2" charset="2"/>
              <a:buChar char="§"/>
              <a:defRPr sz="1108" baseline="0">
                <a:latin typeface="+mj-lt"/>
              </a:defRPr>
            </a:lvl1pPr>
            <a:lvl2pPr marL="249122" indent="-83529">
              <a:buFont typeface="Arial" panose="020B0604020202020204" pitchFamily="34" charset="0"/>
              <a:buChar char="-"/>
              <a:defRPr sz="1108">
                <a:latin typeface="+mj-lt"/>
              </a:defRPr>
            </a:lvl2pPr>
            <a:lvl3pPr marL="334116" indent="-84994">
              <a:buFont typeface="Arial" panose="020B0604020202020204" pitchFamily="34" charset="0"/>
              <a:buChar char="-"/>
              <a:defRPr sz="1108">
                <a:latin typeface="+mj-lt"/>
              </a:defRPr>
            </a:lvl3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5" name="Title 7"/>
          <p:cNvSpPr>
            <a:spLocks noGrp="1"/>
          </p:cNvSpPr>
          <p:nvPr>
            <p:ph type="title"/>
          </p:nvPr>
        </p:nvSpPr>
        <p:spPr>
          <a:xfrm>
            <a:off x="362215" y="338400"/>
            <a:ext cx="8407385" cy="312521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6524624"/>
            <a:ext cx="287325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38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2F80455-B95E-4563-BCE1-6E41F1EBC0F9}" type="slidenum">
              <a:rPr lang="en-GB" smtClean="0">
                <a:solidFill>
                  <a:srgbClr val="000000">
                    <a:tint val="75000"/>
                  </a:srgbClr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  <a:latin typeface="Arial"/>
              <a:cs typeface="+mn-cs"/>
            </a:endParaRP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4759246" y="6524625"/>
            <a:ext cx="2575823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38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  <p:sp>
        <p:nvSpPr>
          <p:cNvPr id="7" name="Rectangle 5"/>
          <p:cNvSpPr txBox="1">
            <a:spLocks noChangeArrowheads="1"/>
          </p:cNvSpPr>
          <p:nvPr userDrawn="1"/>
        </p:nvSpPr>
        <p:spPr bwMode="auto">
          <a:xfrm>
            <a:off x="649705" y="6524624"/>
            <a:ext cx="3725169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 lvl="0">
              <a:defRPr lang="da-DK"/>
            </a:defPPr>
            <a:lvl1pPr lvl="1" algn="l" rtl="0" fontAlgn="base">
              <a:spcBef>
                <a:spcPct val="0"/>
              </a:spcBef>
              <a:spcAft>
                <a:spcPct val="0"/>
              </a:spcAft>
              <a:buFontTx/>
              <a:buNone/>
              <a:defRPr sz="800" kern="1200" cap="all" baseline="0">
                <a:solidFill>
                  <a:srgbClr val="929497"/>
                </a:solidFill>
                <a:latin typeface="Arial" charset="0"/>
                <a:ea typeface="+mn-ea"/>
                <a:cs typeface="+mn-cs"/>
              </a:defRPr>
            </a:lvl1pPr>
            <a:lvl2pPr marL="457160" lvl="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320" lvl="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480" lvl="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63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5799" algn="l" defTabSz="91432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2959" algn="l" defTabSz="91432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118" algn="l" defTabSz="91432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278" algn="l" defTabSz="91432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sz="738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51323" y="6523200"/>
            <a:ext cx="3725169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38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57097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dias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2375585"/>
            <a:ext cx="9144000" cy="2016415"/>
          </a:xfrm>
          <a:prstGeom prst="rect">
            <a:avLst/>
          </a:prstGeom>
          <a:solidFill>
            <a:srgbClr val="E4E5E0"/>
          </a:solidFill>
        </p:spPr>
        <p:txBody>
          <a:bodyPr bIns="1800000" anchor="b" anchorCtr="0"/>
          <a:lstStyle>
            <a:lvl1pPr marL="0" indent="0" algn="ctr">
              <a:buNone/>
              <a:defRPr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Subtitle 32"/>
          <p:cNvSpPr>
            <a:spLocks noGrp="1"/>
          </p:cNvSpPr>
          <p:nvPr>
            <p:ph type="subTitle" idx="1"/>
          </p:nvPr>
        </p:nvSpPr>
        <p:spPr>
          <a:xfrm>
            <a:off x="521723" y="1404338"/>
            <a:ext cx="4720518" cy="2273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77" cap="none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7" name="Text Placeholder 33"/>
          <p:cNvSpPr>
            <a:spLocks noGrp="1"/>
          </p:cNvSpPr>
          <p:nvPr>
            <p:ph type="body" sz="quarter" idx="12"/>
          </p:nvPr>
        </p:nvSpPr>
        <p:spPr>
          <a:xfrm>
            <a:off x="521723" y="4552704"/>
            <a:ext cx="3119802" cy="17049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8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8" name="Text Placeholder 34"/>
          <p:cNvSpPr>
            <a:spLocks noGrp="1"/>
          </p:cNvSpPr>
          <p:nvPr>
            <p:ph type="body" sz="quarter" idx="13"/>
          </p:nvPr>
        </p:nvSpPr>
        <p:spPr>
          <a:xfrm>
            <a:off x="521723" y="4766089"/>
            <a:ext cx="3119802" cy="17049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8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2" name="Billede 7" descr="DONG Energy CMYK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7600621" y="6242540"/>
            <a:ext cx="1163077" cy="40339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21995" y="547165"/>
            <a:ext cx="4709428" cy="710323"/>
          </a:xfrm>
        </p:spPr>
        <p:txBody>
          <a:bodyPr anchor="b" anchorCtr="0"/>
          <a:lstStyle>
            <a:lvl1pPr>
              <a:defRPr sz="2308" cap="all" spc="185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lick to add </a:t>
            </a:r>
            <a:br>
              <a:rPr lang="en-GB" dirty="0"/>
            </a:br>
            <a:r>
              <a:rPr lang="en-GB" dirty="0"/>
              <a:t>Master Title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372185" y="1"/>
            <a:ext cx="0" cy="1186907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C30F10"/>
            </a:solidFill>
            <a:prstDash val="solid"/>
            <a:round/>
            <a:headEnd type="none" w="med" len="med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5753663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338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6673"/>
            <a:ext cx="9144000" cy="5113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40" name="Picture 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90577"/>
            <a:ext cx="9144000" cy="174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23529" y="30529"/>
            <a:ext cx="817531" cy="113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738" b="1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23529" y="177477"/>
            <a:ext cx="2444580" cy="113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38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27.03.2015 19:10 W. Europe Standard Time</a:t>
            </a:r>
            <a:endParaRPr lang="en-GB" sz="738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23529" y="324426"/>
            <a:ext cx="2181687" cy="113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38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24.02.2015 08:23 W. Europe Standard Time</a:t>
            </a:r>
            <a:endParaRPr lang="en-GB" sz="738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347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165304"/>
            <a:ext cx="139065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 userDrawn="1"/>
        </p:nvSpPr>
        <p:spPr bwMode="auto">
          <a:xfrm>
            <a:off x="810034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43276"/>
            <a:endParaRPr lang="en-GB" sz="738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323528" y="6150447"/>
            <a:ext cx="5036084" cy="472965"/>
            <a:chOff x="1663" y="3119"/>
            <a:chExt cx="3109" cy="292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19"/>
              <a:ext cx="3109" cy="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292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88"/>
              <a:ext cx="3109" cy="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292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23528" y="1026403"/>
            <a:ext cx="8613648" cy="34086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215" b="1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23528" y="1733551"/>
            <a:ext cx="8613648" cy="227306"/>
          </a:xfrm>
        </p:spPr>
        <p:txBody>
          <a:bodyPr>
            <a:spAutoFit/>
          </a:bodyPr>
          <a:lstStyle>
            <a:lvl1pPr>
              <a:defRPr sz="1477"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910744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4499063" y="6458893"/>
            <a:ext cx="145874" cy="14202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GB" sz="923" smtClean="0">
                <a:solidFill>
                  <a:srgbClr val="929497"/>
                </a:solidFill>
                <a:cs typeface="+mn-cs"/>
              </a:rPr>
              <a:pPr algn="ctr"/>
              <a:t>‹#›</a:t>
            </a:fld>
            <a:endParaRPr lang="en-GB" sz="923">
              <a:solidFill>
                <a:srgbClr val="929497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8568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88995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338400"/>
            <a:ext cx="8427248" cy="8239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1328738"/>
            <a:ext cx="4117975" cy="462121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5663" y="1328738"/>
            <a:ext cx="4117975" cy="462121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E96885-B7FE-4F75-9FC4-7662EA55A076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 bwMode="auto">
          <a:xfrm>
            <a:off x="362217" y="1173161"/>
            <a:ext cx="8411043" cy="4768852"/>
          </a:xfrm>
          <a:prstGeom prst="rect">
            <a:avLst/>
          </a:prstGeom>
          <a:solidFill>
            <a:srgbClr val="E9EA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5" name="Title 7"/>
          <p:cNvSpPr>
            <a:spLocks noGrp="1"/>
          </p:cNvSpPr>
          <p:nvPr>
            <p:ph type="title"/>
          </p:nvPr>
        </p:nvSpPr>
        <p:spPr>
          <a:xfrm>
            <a:off x="362215" y="338400"/>
            <a:ext cx="8404062" cy="312521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2086" y="1310831"/>
            <a:ext cx="8098338" cy="539828"/>
          </a:xfrm>
          <a:prstGeom prst="rect">
            <a:avLst/>
          </a:prstGeom>
        </p:spPr>
        <p:txBody>
          <a:bodyPr lIns="0" tIns="0" rIns="0" bIns="0"/>
          <a:lstStyle>
            <a:lvl1pPr marL="158265" indent="-158265">
              <a:buFont typeface="Wingdings" panose="05000000000000000000" pitchFamily="2" charset="2"/>
              <a:buChar char="§"/>
              <a:defRPr sz="1108"/>
            </a:lvl1pPr>
            <a:lvl2pPr marL="249122" indent="-83529">
              <a:buFont typeface="Arial" panose="020B0604020202020204" pitchFamily="34" charset="0"/>
              <a:buChar char="-"/>
              <a:defRPr sz="1108"/>
            </a:lvl2pPr>
            <a:lvl3pPr marL="332651" indent="-83529">
              <a:buFont typeface="Arial" panose="020B0604020202020204" pitchFamily="34" charset="0"/>
              <a:buChar char="-"/>
              <a:defRPr/>
            </a:lvl3pPr>
            <a:lvl4pPr marL="501174" indent="-167058">
              <a:buFont typeface="Courier New" panose="02070309020205020404" pitchFamily="49" charset="0"/>
              <a:buChar char="o"/>
              <a:defRPr sz="923" baseline="0"/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7" y="6524624"/>
            <a:ext cx="287325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38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2F80455-B95E-4563-BCE1-6E41F1EBC0F9}" type="slidenum">
              <a:rPr lang="en-GB" smtClean="0">
                <a:solidFill>
                  <a:srgbClr val="000000">
                    <a:tint val="75000"/>
                  </a:srgbClr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  <a:latin typeface="Arial"/>
              <a:cs typeface="+mn-cs"/>
            </a:endParaRP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4759247" y="6524625"/>
            <a:ext cx="2575823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38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  <p:sp>
        <p:nvSpPr>
          <p:cNvPr id="1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05" y="6524624"/>
            <a:ext cx="3725169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38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2844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62215" y="1188000"/>
            <a:ext cx="8417354" cy="4750839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462" tIns="33231" rIns="66462" bIns="33231" rtlCol="0" anchor="t"/>
          <a:lstStyle/>
          <a:p>
            <a:pPr algn="ctr" fontAlgn="auto">
              <a:spcBef>
                <a:spcPts val="0"/>
              </a:spcBef>
              <a:spcAft>
                <a:spcPts val="277"/>
              </a:spcAft>
            </a:pPr>
            <a:endParaRPr lang="en-GB" sz="923" b="1" dirty="0">
              <a:solidFill>
                <a:srgbClr val="000000"/>
              </a:solidFill>
            </a:endParaRPr>
          </a:p>
        </p:txBody>
      </p:sp>
      <p:sp>
        <p:nvSpPr>
          <p:cNvPr id="17" name="Content Placeholder 5"/>
          <p:cNvSpPr>
            <a:spLocks noGrp="1"/>
          </p:cNvSpPr>
          <p:nvPr>
            <p:ph idx="1"/>
          </p:nvPr>
        </p:nvSpPr>
        <p:spPr>
          <a:xfrm>
            <a:off x="504416" y="1322057"/>
            <a:ext cx="8136837" cy="511487"/>
          </a:xfrm>
          <a:prstGeom prst="rect">
            <a:avLst/>
          </a:prstGeom>
        </p:spPr>
        <p:txBody>
          <a:bodyPr lIns="0" tIns="0" rIns="0"/>
          <a:lstStyle>
            <a:lvl1pPr marL="164127" indent="-164127">
              <a:spcBef>
                <a:spcPts val="231"/>
              </a:spcBef>
              <a:buSzPct val="85000"/>
              <a:buFont typeface="Wingdings" panose="05000000000000000000" pitchFamily="2" charset="2"/>
              <a:buChar char="§"/>
              <a:defRPr sz="1108" baseline="0">
                <a:latin typeface="+mj-lt"/>
              </a:defRPr>
            </a:lvl1pPr>
            <a:lvl2pPr marL="249122" indent="-83529">
              <a:buFont typeface="Arial" panose="020B0604020202020204" pitchFamily="34" charset="0"/>
              <a:buChar char="-"/>
              <a:defRPr sz="1108">
                <a:latin typeface="+mj-lt"/>
              </a:defRPr>
            </a:lvl2pPr>
            <a:lvl3pPr marL="334116" indent="-84994">
              <a:buFont typeface="Arial" panose="020B0604020202020204" pitchFamily="34" charset="0"/>
              <a:buChar char="-"/>
              <a:defRPr sz="1108">
                <a:latin typeface="+mj-lt"/>
              </a:defRPr>
            </a:lvl3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5" name="Title 7"/>
          <p:cNvSpPr>
            <a:spLocks noGrp="1"/>
          </p:cNvSpPr>
          <p:nvPr>
            <p:ph type="title"/>
          </p:nvPr>
        </p:nvSpPr>
        <p:spPr>
          <a:xfrm>
            <a:off x="362215" y="338400"/>
            <a:ext cx="8407385" cy="312521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6524624"/>
            <a:ext cx="287325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38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2F80455-B95E-4563-BCE1-6E41F1EBC0F9}" type="slidenum">
              <a:rPr lang="en-GB" smtClean="0">
                <a:solidFill>
                  <a:srgbClr val="000000">
                    <a:tint val="75000"/>
                  </a:srgbClr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  <a:latin typeface="Arial"/>
              <a:cs typeface="+mn-cs"/>
            </a:endParaRP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4759246" y="6524625"/>
            <a:ext cx="2575823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38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  <p:sp>
        <p:nvSpPr>
          <p:cNvPr id="7" name="Rectangle 5"/>
          <p:cNvSpPr txBox="1">
            <a:spLocks noChangeArrowheads="1"/>
          </p:cNvSpPr>
          <p:nvPr userDrawn="1"/>
        </p:nvSpPr>
        <p:spPr bwMode="auto">
          <a:xfrm>
            <a:off x="649705" y="6524624"/>
            <a:ext cx="3725169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 lvl="0">
              <a:defRPr lang="da-DK"/>
            </a:defPPr>
            <a:lvl1pPr lvl="1" algn="l" rtl="0" fontAlgn="base">
              <a:spcBef>
                <a:spcPct val="0"/>
              </a:spcBef>
              <a:spcAft>
                <a:spcPct val="0"/>
              </a:spcAft>
              <a:buFontTx/>
              <a:buNone/>
              <a:defRPr sz="800" kern="1200" cap="all" baseline="0">
                <a:solidFill>
                  <a:srgbClr val="929497"/>
                </a:solidFill>
                <a:latin typeface="Arial" charset="0"/>
                <a:ea typeface="+mn-ea"/>
                <a:cs typeface="+mn-cs"/>
              </a:defRPr>
            </a:lvl1pPr>
            <a:lvl2pPr marL="457160" lvl="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320" lvl="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480" lvl="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63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5799" algn="l" defTabSz="91432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2959" algn="l" defTabSz="91432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118" algn="l" defTabSz="91432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278" algn="l" defTabSz="91432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sz="738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51323" y="6523200"/>
            <a:ext cx="3725169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38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99775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dias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2375585"/>
            <a:ext cx="9144000" cy="2016415"/>
          </a:xfrm>
          <a:prstGeom prst="rect">
            <a:avLst/>
          </a:prstGeom>
          <a:solidFill>
            <a:srgbClr val="E4E5E0"/>
          </a:solidFill>
        </p:spPr>
        <p:txBody>
          <a:bodyPr bIns="1800000" anchor="b" anchorCtr="0"/>
          <a:lstStyle>
            <a:lvl1pPr marL="0" indent="0" algn="ctr">
              <a:buNone/>
              <a:defRPr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7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Subtitle 32"/>
          <p:cNvSpPr>
            <a:spLocks noGrp="1"/>
          </p:cNvSpPr>
          <p:nvPr>
            <p:ph type="subTitle" idx="1"/>
          </p:nvPr>
        </p:nvSpPr>
        <p:spPr>
          <a:xfrm>
            <a:off x="521723" y="1404338"/>
            <a:ext cx="4720518" cy="2273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77" cap="none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7" name="Text Placeholder 33"/>
          <p:cNvSpPr>
            <a:spLocks noGrp="1"/>
          </p:cNvSpPr>
          <p:nvPr>
            <p:ph type="body" sz="quarter" idx="12"/>
          </p:nvPr>
        </p:nvSpPr>
        <p:spPr>
          <a:xfrm>
            <a:off x="521723" y="4552704"/>
            <a:ext cx="3119802" cy="17049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8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8" name="Text Placeholder 34"/>
          <p:cNvSpPr>
            <a:spLocks noGrp="1"/>
          </p:cNvSpPr>
          <p:nvPr>
            <p:ph type="body" sz="quarter" idx="13"/>
          </p:nvPr>
        </p:nvSpPr>
        <p:spPr>
          <a:xfrm>
            <a:off x="521723" y="4766089"/>
            <a:ext cx="3119802" cy="17049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8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2" name="Billede 7" descr="DONG Energy CMYK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7600621" y="6242540"/>
            <a:ext cx="1163077" cy="40339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21995" y="547165"/>
            <a:ext cx="4709428" cy="710323"/>
          </a:xfrm>
        </p:spPr>
        <p:txBody>
          <a:bodyPr anchor="b" anchorCtr="0"/>
          <a:lstStyle>
            <a:lvl1pPr>
              <a:defRPr sz="2308" cap="all" spc="185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lick to add </a:t>
            </a:r>
            <a:br>
              <a:rPr lang="en-GB" dirty="0"/>
            </a:br>
            <a:r>
              <a:rPr lang="en-GB" dirty="0"/>
              <a:t>Master Title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372185" y="1"/>
            <a:ext cx="0" cy="1186907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C30F10"/>
            </a:solidFill>
            <a:prstDash val="solid"/>
            <a:round/>
            <a:headEnd type="none" w="med" len="med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30967738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338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6673"/>
            <a:ext cx="9144000" cy="5113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40" name="Picture 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90577"/>
            <a:ext cx="9144000" cy="174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23529" y="30529"/>
            <a:ext cx="817531" cy="113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738" b="1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23529" y="177477"/>
            <a:ext cx="2444580" cy="113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38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27.03.2015 19:10 W. Europe Standard Time</a:t>
            </a:r>
            <a:endParaRPr lang="en-GB" sz="738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23529" y="324426"/>
            <a:ext cx="2181687" cy="113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38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24.02.2015 08:23 W. Europe Standard Time</a:t>
            </a:r>
            <a:endParaRPr lang="en-GB" sz="738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347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165304"/>
            <a:ext cx="139065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 userDrawn="1"/>
        </p:nvSpPr>
        <p:spPr bwMode="auto">
          <a:xfrm>
            <a:off x="810034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43276"/>
            <a:endParaRPr lang="en-GB" sz="738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323528" y="6150447"/>
            <a:ext cx="5036084" cy="472965"/>
            <a:chOff x="1663" y="3119"/>
            <a:chExt cx="3109" cy="292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19"/>
              <a:ext cx="3109" cy="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292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88"/>
              <a:ext cx="3109" cy="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292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23528" y="1026403"/>
            <a:ext cx="8613648" cy="34086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215" b="1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23528" y="1733551"/>
            <a:ext cx="8613648" cy="227306"/>
          </a:xfrm>
        </p:spPr>
        <p:txBody>
          <a:bodyPr>
            <a:spAutoFit/>
          </a:bodyPr>
          <a:lstStyle>
            <a:lvl1pPr>
              <a:defRPr sz="1477"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08713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4499063" y="6458893"/>
            <a:ext cx="145874" cy="14202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GB" sz="923" smtClean="0">
                <a:solidFill>
                  <a:srgbClr val="929497"/>
                </a:solidFill>
                <a:cs typeface="+mn-cs"/>
              </a:rPr>
              <a:pPr algn="ctr"/>
              <a:t>‹#›</a:t>
            </a:fld>
            <a:endParaRPr lang="en-GB" sz="923">
              <a:solidFill>
                <a:srgbClr val="929497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80224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04283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338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6673"/>
            <a:ext cx="9144000" cy="5113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40" name="Picture 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90577"/>
            <a:ext cx="9144000" cy="174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23529" y="30529"/>
            <a:ext cx="817531" cy="113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738" b="1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23529" y="177477"/>
            <a:ext cx="2444580" cy="113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38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28.01.2015 18:43 W. Europe Standard Time</a:t>
            </a:r>
            <a:endParaRPr lang="en-GB" sz="738" dirty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23529" y="324426"/>
            <a:ext cx="2181687" cy="113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38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28.01.2015 11:48 W. Europe Standard Time</a:t>
            </a:r>
            <a:endParaRPr lang="en-GB" sz="738" dirty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347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165304"/>
            <a:ext cx="139065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 userDrawn="1"/>
        </p:nvSpPr>
        <p:spPr bwMode="auto">
          <a:xfrm>
            <a:off x="810034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43276"/>
            <a:endParaRPr lang="en-GB" sz="738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323528" y="6150447"/>
            <a:ext cx="5036084" cy="472965"/>
            <a:chOff x="1663" y="3119"/>
            <a:chExt cx="3109" cy="292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19"/>
              <a:ext cx="3109" cy="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292" dirty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88"/>
              <a:ext cx="3109" cy="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292" dirty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23528" y="1026403"/>
            <a:ext cx="8613648" cy="34086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215" b="1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23528" y="1733551"/>
            <a:ext cx="8613648" cy="227306"/>
          </a:xfrm>
        </p:spPr>
        <p:txBody>
          <a:bodyPr>
            <a:spAutoFit/>
          </a:bodyPr>
          <a:lstStyle>
            <a:lvl1pPr>
              <a:defRPr sz="1477"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15260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4499063" y="6458893"/>
            <a:ext cx="145874" cy="14202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GB" sz="923" smtClean="0">
                <a:solidFill>
                  <a:srgbClr val="929497"/>
                </a:solidFill>
              </a:rPr>
              <a:pPr algn="ctr"/>
              <a:t>‹#›</a:t>
            </a:fld>
            <a:endParaRPr lang="en-GB" sz="923" dirty="0">
              <a:solidFill>
                <a:srgbClr val="9294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4931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23271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55" y="1990667"/>
            <a:ext cx="4389768" cy="99418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50698E7C-734E-47F6-AB91-5CE19A749247}" type="slidenum">
              <a:rPr lang="en-GB" sz="923" smtClean="0">
                <a:solidFill>
                  <a:srgbClr val="000000"/>
                </a:solidFill>
                <a:latin typeface="Arial"/>
              </a:rPr>
              <a:pPr/>
              <a:t>‹#›</a:t>
            </a:fld>
            <a:endParaRPr lang="en-GB" sz="923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11121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11815A-B20D-485D-A42D-61E71CBE0279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338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6671"/>
            <a:ext cx="9144000" cy="5113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40" name="Picture 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90575"/>
            <a:ext cx="9144000" cy="174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23528" y="30527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800" b="1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23528" y="177475"/>
            <a:ext cx="267220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28.01.2015 18:43 W. Europe Standard Time</a:t>
            </a:r>
            <a:endParaRPr lang="en-GB" sz="800" dirty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23528" y="324424"/>
            <a:ext cx="238526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28.01.2015 11:48 W. Europe Standard Time</a:t>
            </a:r>
            <a:endParaRPr lang="en-GB" sz="800" dirty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347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165304"/>
            <a:ext cx="139065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 userDrawn="1"/>
        </p:nvSpPr>
        <p:spPr bwMode="auto">
          <a:xfrm>
            <a:off x="8100348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GB" sz="8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323528" y="6129393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23528" y="1026403"/>
            <a:ext cx="8613648" cy="36933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400" b="1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23528" y="1733550"/>
            <a:ext cx="8613648" cy="246221"/>
          </a:xfrm>
        </p:spPr>
        <p:txBody>
          <a:bodyPr>
            <a:spAutoFit/>
          </a:bodyPr>
          <a:lstStyle>
            <a:lvl1pPr>
              <a:defRPr sz="1600"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72320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4493453" y="645296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GB" smtClean="0">
                <a:solidFill>
                  <a:srgbClr val="929497"/>
                </a:solidFill>
              </a:rPr>
              <a:pPr algn="ctr"/>
              <a:t>‹#›</a:t>
            </a:fld>
            <a:endParaRPr lang="en-GB" dirty="0">
              <a:solidFill>
                <a:srgbClr val="9294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99546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40867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55" y="1990667"/>
            <a:ext cx="4389768" cy="107721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50698E7C-734E-47F6-AB91-5CE19A749247}" type="slidenum">
              <a:rPr lang="en-GB" sz="1000" smtClean="0">
                <a:solidFill>
                  <a:srgbClr val="000000"/>
                </a:solidFill>
                <a:latin typeface="Arial"/>
              </a:rPr>
              <a:pPr/>
              <a:t>‹#›</a:t>
            </a:fld>
            <a:endParaRPr lang="en-GB" sz="10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905544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338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6673"/>
            <a:ext cx="9144000" cy="5113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40" name="Picture 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90577"/>
            <a:ext cx="9144000" cy="174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23529" y="30529"/>
            <a:ext cx="817531" cy="113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738" b="1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23529" y="177477"/>
            <a:ext cx="2444580" cy="113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38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27.03.2015 19:10 W. Europe Standard Time</a:t>
            </a:r>
            <a:endParaRPr lang="en-GB" sz="738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23529" y="324426"/>
            <a:ext cx="2181687" cy="113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38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24.02.2015 08:23 W. Europe Standard Time</a:t>
            </a:r>
            <a:endParaRPr lang="en-GB" sz="738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347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165304"/>
            <a:ext cx="139065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 userDrawn="1"/>
        </p:nvSpPr>
        <p:spPr bwMode="auto">
          <a:xfrm>
            <a:off x="810034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43276"/>
            <a:endParaRPr lang="en-GB" sz="738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323528" y="6150447"/>
            <a:ext cx="5036084" cy="472965"/>
            <a:chOff x="1663" y="3119"/>
            <a:chExt cx="3109" cy="292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19"/>
              <a:ext cx="3109" cy="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292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88"/>
              <a:ext cx="3109" cy="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292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23528" y="1026403"/>
            <a:ext cx="8613648" cy="34086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215" b="1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23528" y="1733551"/>
            <a:ext cx="8613648" cy="227306"/>
          </a:xfrm>
        </p:spPr>
        <p:txBody>
          <a:bodyPr>
            <a:spAutoFit/>
          </a:bodyPr>
          <a:lstStyle>
            <a:lvl1pPr>
              <a:defRPr sz="1477"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953261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4499063" y="6458893"/>
            <a:ext cx="145874" cy="14202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GB" sz="923" smtClean="0">
                <a:solidFill>
                  <a:srgbClr val="929497"/>
                </a:solidFill>
                <a:cs typeface="+mn-cs"/>
              </a:rPr>
              <a:pPr algn="ctr"/>
              <a:t>‹#›</a:t>
            </a:fld>
            <a:endParaRPr lang="en-GB" sz="923">
              <a:solidFill>
                <a:srgbClr val="929497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205139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79989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338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6673"/>
            <a:ext cx="9144000" cy="5113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40" name="Picture 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90577"/>
            <a:ext cx="9144000" cy="174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23529" y="30529"/>
            <a:ext cx="817531" cy="113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738" b="1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23529" y="177477"/>
            <a:ext cx="2444580" cy="113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38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27.03.2015 19:10 W. Europe Standard Time</a:t>
            </a:r>
            <a:endParaRPr lang="en-GB" sz="738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23529" y="324426"/>
            <a:ext cx="2181687" cy="113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38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24.02.2015 08:23 W. Europe Standard Time</a:t>
            </a:r>
            <a:endParaRPr lang="en-GB" sz="738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4347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165304"/>
            <a:ext cx="139065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c id"/>
          <p:cNvSpPr>
            <a:spLocks noChangeArrowheads="1"/>
          </p:cNvSpPr>
          <p:nvPr userDrawn="1"/>
        </p:nvSpPr>
        <p:spPr bwMode="auto">
          <a:xfrm>
            <a:off x="810034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43276"/>
            <a:endParaRPr lang="en-GB" sz="738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323528" y="6150447"/>
            <a:ext cx="5036084" cy="472965"/>
            <a:chOff x="1663" y="3119"/>
            <a:chExt cx="3109" cy="292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19"/>
              <a:ext cx="3109" cy="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292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88"/>
              <a:ext cx="3109" cy="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292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23528" y="1026403"/>
            <a:ext cx="8613648" cy="34086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2215" b="1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23528" y="1733551"/>
            <a:ext cx="8613648" cy="227306"/>
          </a:xfrm>
        </p:spPr>
        <p:txBody>
          <a:bodyPr>
            <a:spAutoFit/>
          </a:bodyPr>
          <a:lstStyle>
            <a:lvl1pPr>
              <a:defRPr sz="1477"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712048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4499063" y="6458893"/>
            <a:ext cx="145874" cy="14202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GB" sz="923" smtClean="0">
                <a:solidFill>
                  <a:srgbClr val="929497"/>
                </a:solidFill>
              </a:rPr>
              <a:pPr algn="ctr"/>
              <a:t>‹#›</a:t>
            </a:fld>
            <a:endParaRPr lang="en-GB" sz="923">
              <a:solidFill>
                <a:srgbClr val="9294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8965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8746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6B0660-3EA3-468D-8610-343C1CF31075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CC2A36-A804-4785-9EBD-34F1AFE6EEDF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81788" y="188913"/>
            <a:ext cx="2101850" cy="57610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71475" y="188913"/>
            <a:ext cx="6157913" cy="576103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DA0E7A-2063-471C-A9BB-FAB0C62B10A0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76C159F-270B-4884-AD34-0650DAF41DBF}" type="slidenum">
              <a:rPr lang="da-DK" smtClean="0"/>
              <a:pPr>
                <a:defRPr/>
              </a:pPr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431999"/>
            <a:ext cx="9144000" cy="3960000"/>
          </a:xfrm>
          <a:solidFill>
            <a:srgbClr val="EEEEE4"/>
          </a:solidFill>
        </p:spPr>
        <p:txBody>
          <a:bodyPr bIns="1440000" anchor="b" anchorCtr="0"/>
          <a:lstStyle>
            <a:lvl1pPr marL="0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6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5875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498462" y="1744658"/>
            <a:ext cx="4579326" cy="407988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16" name="Rectangle 2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498461" y="706437"/>
            <a:ext cx="4577297" cy="900101"/>
          </a:xfrm>
        </p:spPr>
        <p:txBody>
          <a:bodyPr anchor="t" anchorCtr="0"/>
          <a:lstStyle>
            <a:lvl1pPr>
              <a:lnSpc>
                <a:spcPts val="2800"/>
              </a:lnSpc>
              <a:defRPr sz="2500" cap="all" spc="3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498462" y="4464206"/>
            <a:ext cx="3119802" cy="276999"/>
          </a:xfrm>
        </p:spPr>
        <p:txBody>
          <a:bodyPr wrap="square" anchor="b">
            <a:spAutoFit/>
          </a:bodyPr>
          <a:lstStyle>
            <a:lvl1pPr marL="0" indent="0">
              <a:buNone/>
              <a:defRPr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insert name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498462" y="4766089"/>
            <a:ext cx="3119802" cy="276999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insert date</a:t>
            </a:r>
          </a:p>
        </p:txBody>
      </p:sp>
      <p:pic>
        <p:nvPicPr>
          <p:cNvPr id="10" name="Billede 7" descr="DONG Energy CMYK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7624158" y="6242540"/>
            <a:ext cx="1163077" cy="403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3429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1.vml"/><Relationship Id="rId12" Type="http://schemas.openxmlformats.org/officeDocument/2006/relationships/tags" Target="../tags/tag2.xml"/><Relationship Id="rId13" Type="http://schemas.openxmlformats.org/officeDocument/2006/relationships/oleObject" Target="../embeddings/oleObject1.bin"/><Relationship Id="rId14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tags" Target="../tags/tag187.xml"/><Relationship Id="rId20" Type="http://schemas.openxmlformats.org/officeDocument/2006/relationships/tags" Target="../tags/tag198.xml"/><Relationship Id="rId21" Type="http://schemas.openxmlformats.org/officeDocument/2006/relationships/tags" Target="../tags/tag199.xml"/><Relationship Id="rId22" Type="http://schemas.openxmlformats.org/officeDocument/2006/relationships/tags" Target="../tags/tag200.xml"/><Relationship Id="rId23" Type="http://schemas.openxmlformats.org/officeDocument/2006/relationships/tags" Target="../tags/tag201.xml"/><Relationship Id="rId24" Type="http://schemas.openxmlformats.org/officeDocument/2006/relationships/tags" Target="../tags/tag202.xml"/><Relationship Id="rId25" Type="http://schemas.openxmlformats.org/officeDocument/2006/relationships/oleObject" Target="../embeddings/oleObject25.bin"/><Relationship Id="rId26" Type="http://schemas.openxmlformats.org/officeDocument/2006/relationships/image" Target="../media/image2.emf"/><Relationship Id="rId27" Type="http://schemas.openxmlformats.org/officeDocument/2006/relationships/image" Target="../media/image3.png"/><Relationship Id="rId10" Type="http://schemas.openxmlformats.org/officeDocument/2006/relationships/tags" Target="../tags/tag188.xml"/><Relationship Id="rId11" Type="http://schemas.openxmlformats.org/officeDocument/2006/relationships/tags" Target="../tags/tag189.xml"/><Relationship Id="rId12" Type="http://schemas.openxmlformats.org/officeDocument/2006/relationships/tags" Target="../tags/tag190.xml"/><Relationship Id="rId13" Type="http://schemas.openxmlformats.org/officeDocument/2006/relationships/tags" Target="../tags/tag191.xml"/><Relationship Id="rId14" Type="http://schemas.openxmlformats.org/officeDocument/2006/relationships/tags" Target="../tags/tag192.xml"/><Relationship Id="rId15" Type="http://schemas.openxmlformats.org/officeDocument/2006/relationships/tags" Target="../tags/tag193.xml"/><Relationship Id="rId16" Type="http://schemas.openxmlformats.org/officeDocument/2006/relationships/tags" Target="../tags/tag194.xml"/><Relationship Id="rId17" Type="http://schemas.openxmlformats.org/officeDocument/2006/relationships/tags" Target="../tags/tag195.xml"/><Relationship Id="rId18" Type="http://schemas.openxmlformats.org/officeDocument/2006/relationships/tags" Target="../tags/tag196.xml"/><Relationship Id="rId19" Type="http://schemas.openxmlformats.org/officeDocument/2006/relationships/tags" Target="../tags/tag197.xml"/><Relationship Id="rId1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6.xml"/><Relationship Id="rId4" Type="http://schemas.openxmlformats.org/officeDocument/2006/relationships/theme" Target="../theme/theme10.xml"/><Relationship Id="rId5" Type="http://schemas.openxmlformats.org/officeDocument/2006/relationships/vmlDrawing" Target="../drawings/vmlDrawing25.vml"/><Relationship Id="rId6" Type="http://schemas.openxmlformats.org/officeDocument/2006/relationships/tags" Target="../tags/tag184.xml"/><Relationship Id="rId7" Type="http://schemas.openxmlformats.org/officeDocument/2006/relationships/tags" Target="../tags/tag185.xml"/><Relationship Id="rId8" Type="http://schemas.openxmlformats.org/officeDocument/2006/relationships/tags" Target="../tags/tag186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tags" Target="../tags/tag207.xml"/><Relationship Id="rId20" Type="http://schemas.openxmlformats.org/officeDocument/2006/relationships/tags" Target="../tags/tag218.xml"/><Relationship Id="rId21" Type="http://schemas.openxmlformats.org/officeDocument/2006/relationships/tags" Target="../tags/tag219.xml"/><Relationship Id="rId22" Type="http://schemas.openxmlformats.org/officeDocument/2006/relationships/tags" Target="../tags/tag220.xml"/><Relationship Id="rId23" Type="http://schemas.openxmlformats.org/officeDocument/2006/relationships/tags" Target="../tags/tag221.xml"/><Relationship Id="rId24" Type="http://schemas.openxmlformats.org/officeDocument/2006/relationships/tags" Target="../tags/tag222.xml"/><Relationship Id="rId25" Type="http://schemas.openxmlformats.org/officeDocument/2006/relationships/oleObject" Target="../embeddings/oleObject27.bin"/><Relationship Id="rId26" Type="http://schemas.openxmlformats.org/officeDocument/2006/relationships/image" Target="../media/image2.emf"/><Relationship Id="rId27" Type="http://schemas.openxmlformats.org/officeDocument/2006/relationships/image" Target="../media/image3.png"/><Relationship Id="rId10" Type="http://schemas.openxmlformats.org/officeDocument/2006/relationships/tags" Target="../tags/tag208.xml"/><Relationship Id="rId11" Type="http://schemas.openxmlformats.org/officeDocument/2006/relationships/tags" Target="../tags/tag209.xml"/><Relationship Id="rId12" Type="http://schemas.openxmlformats.org/officeDocument/2006/relationships/tags" Target="../tags/tag210.xml"/><Relationship Id="rId13" Type="http://schemas.openxmlformats.org/officeDocument/2006/relationships/tags" Target="../tags/tag211.xml"/><Relationship Id="rId14" Type="http://schemas.openxmlformats.org/officeDocument/2006/relationships/tags" Target="../tags/tag212.xml"/><Relationship Id="rId15" Type="http://schemas.openxmlformats.org/officeDocument/2006/relationships/tags" Target="../tags/tag213.xml"/><Relationship Id="rId16" Type="http://schemas.openxmlformats.org/officeDocument/2006/relationships/tags" Target="../tags/tag214.xml"/><Relationship Id="rId17" Type="http://schemas.openxmlformats.org/officeDocument/2006/relationships/tags" Target="../tags/tag215.xml"/><Relationship Id="rId18" Type="http://schemas.openxmlformats.org/officeDocument/2006/relationships/tags" Target="../tags/tag216.xml"/><Relationship Id="rId19" Type="http://schemas.openxmlformats.org/officeDocument/2006/relationships/tags" Target="../tags/tag217.xml"/><Relationship Id="rId1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9.xml"/><Relationship Id="rId4" Type="http://schemas.openxmlformats.org/officeDocument/2006/relationships/theme" Target="../theme/theme11.xml"/><Relationship Id="rId5" Type="http://schemas.openxmlformats.org/officeDocument/2006/relationships/vmlDrawing" Target="../drawings/vmlDrawing27.vml"/><Relationship Id="rId6" Type="http://schemas.openxmlformats.org/officeDocument/2006/relationships/tags" Target="../tags/tag204.xml"/><Relationship Id="rId7" Type="http://schemas.openxmlformats.org/officeDocument/2006/relationships/tags" Target="../tags/tag205.xml"/><Relationship Id="rId8" Type="http://schemas.openxmlformats.org/officeDocument/2006/relationships/tags" Target="../tags/tag206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15.xml"/><Relationship Id="rId20" Type="http://schemas.openxmlformats.org/officeDocument/2006/relationships/tags" Target="../tags/tag26.xml"/><Relationship Id="rId21" Type="http://schemas.openxmlformats.org/officeDocument/2006/relationships/tags" Target="../tags/tag27.xml"/><Relationship Id="rId22" Type="http://schemas.openxmlformats.org/officeDocument/2006/relationships/tags" Target="../tags/tag28.xml"/><Relationship Id="rId23" Type="http://schemas.openxmlformats.org/officeDocument/2006/relationships/tags" Target="../tags/tag29.xml"/><Relationship Id="rId24" Type="http://schemas.openxmlformats.org/officeDocument/2006/relationships/tags" Target="../tags/tag30.xml"/><Relationship Id="rId25" Type="http://schemas.openxmlformats.org/officeDocument/2006/relationships/tags" Target="../tags/tag31.xml"/><Relationship Id="rId26" Type="http://schemas.openxmlformats.org/officeDocument/2006/relationships/tags" Target="../tags/tag32.xml"/><Relationship Id="rId27" Type="http://schemas.openxmlformats.org/officeDocument/2006/relationships/tags" Target="../tags/tag33.xml"/><Relationship Id="rId28" Type="http://schemas.openxmlformats.org/officeDocument/2006/relationships/oleObject" Target="../embeddings/oleObject4.bin"/><Relationship Id="rId29" Type="http://schemas.openxmlformats.org/officeDocument/2006/relationships/image" Target="../media/image2.emf"/><Relationship Id="rId30" Type="http://schemas.openxmlformats.org/officeDocument/2006/relationships/image" Target="../media/image3.png"/><Relationship Id="rId10" Type="http://schemas.openxmlformats.org/officeDocument/2006/relationships/tags" Target="../tags/tag16.xml"/><Relationship Id="rId11" Type="http://schemas.openxmlformats.org/officeDocument/2006/relationships/tags" Target="../tags/tag17.xml"/><Relationship Id="rId12" Type="http://schemas.openxmlformats.org/officeDocument/2006/relationships/tags" Target="../tags/tag18.xml"/><Relationship Id="rId13" Type="http://schemas.openxmlformats.org/officeDocument/2006/relationships/tags" Target="../tags/tag19.xml"/><Relationship Id="rId14" Type="http://schemas.openxmlformats.org/officeDocument/2006/relationships/tags" Target="../tags/tag20.xml"/><Relationship Id="rId15" Type="http://schemas.openxmlformats.org/officeDocument/2006/relationships/tags" Target="../tags/tag21.xml"/><Relationship Id="rId16" Type="http://schemas.openxmlformats.org/officeDocument/2006/relationships/tags" Target="../tags/tag22.xml"/><Relationship Id="rId17" Type="http://schemas.openxmlformats.org/officeDocument/2006/relationships/tags" Target="../tags/tag23.xml"/><Relationship Id="rId18" Type="http://schemas.openxmlformats.org/officeDocument/2006/relationships/tags" Target="../tags/tag24.xml"/><Relationship Id="rId19" Type="http://schemas.openxmlformats.org/officeDocument/2006/relationships/tags" Target="../tags/tag25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5.xml"/><Relationship Id="rId7" Type="http://schemas.openxmlformats.org/officeDocument/2006/relationships/theme" Target="../theme/theme2.xml"/><Relationship Id="rId8" Type="http://schemas.openxmlformats.org/officeDocument/2006/relationships/vmlDrawing" Target="../drawings/vmlDrawing4.v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0.xml"/><Relationship Id="rId20" Type="http://schemas.openxmlformats.org/officeDocument/2006/relationships/tags" Target="../tags/tag51.xml"/><Relationship Id="rId21" Type="http://schemas.openxmlformats.org/officeDocument/2006/relationships/tags" Target="../tags/tag52.xml"/><Relationship Id="rId22" Type="http://schemas.openxmlformats.org/officeDocument/2006/relationships/tags" Target="../tags/tag53.xml"/><Relationship Id="rId23" Type="http://schemas.openxmlformats.org/officeDocument/2006/relationships/tags" Target="../tags/tag54.xml"/><Relationship Id="rId24" Type="http://schemas.openxmlformats.org/officeDocument/2006/relationships/tags" Target="../tags/tag55.xml"/><Relationship Id="rId25" Type="http://schemas.openxmlformats.org/officeDocument/2006/relationships/oleObject" Target="../embeddings/oleObject7.bin"/><Relationship Id="rId26" Type="http://schemas.openxmlformats.org/officeDocument/2006/relationships/image" Target="../media/image2.emf"/><Relationship Id="rId27" Type="http://schemas.openxmlformats.org/officeDocument/2006/relationships/image" Target="../media/image3.png"/><Relationship Id="rId10" Type="http://schemas.openxmlformats.org/officeDocument/2006/relationships/tags" Target="../tags/tag41.xml"/><Relationship Id="rId11" Type="http://schemas.openxmlformats.org/officeDocument/2006/relationships/tags" Target="../tags/tag42.xml"/><Relationship Id="rId12" Type="http://schemas.openxmlformats.org/officeDocument/2006/relationships/tags" Target="../tags/tag43.xml"/><Relationship Id="rId13" Type="http://schemas.openxmlformats.org/officeDocument/2006/relationships/tags" Target="../tags/tag44.xml"/><Relationship Id="rId14" Type="http://schemas.openxmlformats.org/officeDocument/2006/relationships/tags" Target="../tags/tag45.xml"/><Relationship Id="rId15" Type="http://schemas.openxmlformats.org/officeDocument/2006/relationships/tags" Target="../tags/tag46.xml"/><Relationship Id="rId16" Type="http://schemas.openxmlformats.org/officeDocument/2006/relationships/tags" Target="../tags/tag47.xml"/><Relationship Id="rId17" Type="http://schemas.openxmlformats.org/officeDocument/2006/relationships/tags" Target="../tags/tag48.xml"/><Relationship Id="rId18" Type="http://schemas.openxmlformats.org/officeDocument/2006/relationships/tags" Target="../tags/tag49.xml"/><Relationship Id="rId19" Type="http://schemas.openxmlformats.org/officeDocument/2006/relationships/tags" Target="../tags/tag50.xml"/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8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7.vml"/><Relationship Id="rId6" Type="http://schemas.openxmlformats.org/officeDocument/2006/relationships/tags" Target="../tags/tag37.xml"/><Relationship Id="rId7" Type="http://schemas.openxmlformats.org/officeDocument/2006/relationships/tags" Target="../tags/tag38.xml"/><Relationship Id="rId8" Type="http://schemas.openxmlformats.org/officeDocument/2006/relationships/tags" Target="../tags/tag39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61.xml"/><Relationship Id="rId20" Type="http://schemas.openxmlformats.org/officeDocument/2006/relationships/tags" Target="../tags/tag72.xml"/><Relationship Id="rId21" Type="http://schemas.openxmlformats.org/officeDocument/2006/relationships/tags" Target="../tags/tag73.xml"/><Relationship Id="rId22" Type="http://schemas.openxmlformats.org/officeDocument/2006/relationships/tags" Target="../tags/tag74.xml"/><Relationship Id="rId23" Type="http://schemas.openxmlformats.org/officeDocument/2006/relationships/tags" Target="../tags/tag75.xml"/><Relationship Id="rId24" Type="http://schemas.openxmlformats.org/officeDocument/2006/relationships/oleObject" Target="../embeddings/oleObject9.bin"/><Relationship Id="rId25" Type="http://schemas.openxmlformats.org/officeDocument/2006/relationships/image" Target="../media/image2.emf"/><Relationship Id="rId26" Type="http://schemas.openxmlformats.org/officeDocument/2006/relationships/image" Target="../media/image3.png"/><Relationship Id="rId10" Type="http://schemas.openxmlformats.org/officeDocument/2006/relationships/tags" Target="../tags/tag62.xml"/><Relationship Id="rId11" Type="http://schemas.openxmlformats.org/officeDocument/2006/relationships/tags" Target="../tags/tag63.xml"/><Relationship Id="rId12" Type="http://schemas.openxmlformats.org/officeDocument/2006/relationships/tags" Target="../tags/tag64.xml"/><Relationship Id="rId13" Type="http://schemas.openxmlformats.org/officeDocument/2006/relationships/tags" Target="../tags/tag65.xml"/><Relationship Id="rId14" Type="http://schemas.openxmlformats.org/officeDocument/2006/relationships/tags" Target="../tags/tag66.xml"/><Relationship Id="rId15" Type="http://schemas.openxmlformats.org/officeDocument/2006/relationships/tags" Target="../tags/tag67.xml"/><Relationship Id="rId16" Type="http://schemas.openxmlformats.org/officeDocument/2006/relationships/tags" Target="../tags/tag68.xml"/><Relationship Id="rId17" Type="http://schemas.openxmlformats.org/officeDocument/2006/relationships/tags" Target="../tags/tag69.xml"/><Relationship Id="rId18" Type="http://schemas.openxmlformats.org/officeDocument/2006/relationships/tags" Target="../tags/tag70.xml"/><Relationship Id="rId19" Type="http://schemas.openxmlformats.org/officeDocument/2006/relationships/tags" Target="../tags/tag71.xml"/><Relationship Id="rId1" Type="http://schemas.openxmlformats.org/officeDocument/2006/relationships/slideLayout" Target="../slideLayouts/slideLayout19.xml"/><Relationship Id="rId2" Type="http://schemas.openxmlformats.org/officeDocument/2006/relationships/slideLayout" Target="../slideLayouts/slideLayout20.xml"/><Relationship Id="rId3" Type="http://schemas.openxmlformats.org/officeDocument/2006/relationships/theme" Target="../theme/theme4.xml"/><Relationship Id="rId4" Type="http://schemas.openxmlformats.org/officeDocument/2006/relationships/vmlDrawing" Target="../drawings/vmlDrawing9.vml"/><Relationship Id="rId5" Type="http://schemas.openxmlformats.org/officeDocument/2006/relationships/tags" Target="../tags/tag57.xml"/><Relationship Id="rId6" Type="http://schemas.openxmlformats.org/officeDocument/2006/relationships/tags" Target="../tags/tag58.xml"/><Relationship Id="rId7" Type="http://schemas.openxmlformats.org/officeDocument/2006/relationships/tags" Target="../tags/tag59.xml"/><Relationship Id="rId8" Type="http://schemas.openxmlformats.org/officeDocument/2006/relationships/tags" Target="../tags/tag60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tags" Target="../tags/tag77.xml"/><Relationship Id="rId20" Type="http://schemas.openxmlformats.org/officeDocument/2006/relationships/tags" Target="../tags/tag88.xml"/><Relationship Id="rId21" Type="http://schemas.openxmlformats.org/officeDocument/2006/relationships/tags" Target="../tags/tag89.xml"/><Relationship Id="rId22" Type="http://schemas.openxmlformats.org/officeDocument/2006/relationships/tags" Target="../tags/tag90.xml"/><Relationship Id="rId23" Type="http://schemas.openxmlformats.org/officeDocument/2006/relationships/tags" Target="../tags/tag91.xml"/><Relationship Id="rId24" Type="http://schemas.openxmlformats.org/officeDocument/2006/relationships/tags" Target="../tags/tag92.xml"/><Relationship Id="rId25" Type="http://schemas.openxmlformats.org/officeDocument/2006/relationships/tags" Target="../tags/tag93.xml"/><Relationship Id="rId26" Type="http://schemas.openxmlformats.org/officeDocument/2006/relationships/tags" Target="../tags/tag94.xml"/><Relationship Id="rId27" Type="http://schemas.openxmlformats.org/officeDocument/2006/relationships/tags" Target="../tags/tag95.xml"/><Relationship Id="rId28" Type="http://schemas.openxmlformats.org/officeDocument/2006/relationships/oleObject" Target="../embeddings/oleObject11.bin"/><Relationship Id="rId29" Type="http://schemas.openxmlformats.org/officeDocument/2006/relationships/image" Target="../media/image2.emf"/><Relationship Id="rId30" Type="http://schemas.openxmlformats.org/officeDocument/2006/relationships/image" Target="../media/image3.png"/><Relationship Id="rId10" Type="http://schemas.openxmlformats.org/officeDocument/2006/relationships/tags" Target="../tags/tag78.xml"/><Relationship Id="rId11" Type="http://schemas.openxmlformats.org/officeDocument/2006/relationships/tags" Target="../tags/tag79.xml"/><Relationship Id="rId12" Type="http://schemas.openxmlformats.org/officeDocument/2006/relationships/tags" Target="../tags/tag80.xml"/><Relationship Id="rId13" Type="http://schemas.openxmlformats.org/officeDocument/2006/relationships/tags" Target="../tags/tag81.xml"/><Relationship Id="rId14" Type="http://schemas.openxmlformats.org/officeDocument/2006/relationships/tags" Target="../tags/tag82.xml"/><Relationship Id="rId15" Type="http://schemas.openxmlformats.org/officeDocument/2006/relationships/tags" Target="../tags/tag83.xml"/><Relationship Id="rId16" Type="http://schemas.openxmlformats.org/officeDocument/2006/relationships/tags" Target="../tags/tag84.xml"/><Relationship Id="rId17" Type="http://schemas.openxmlformats.org/officeDocument/2006/relationships/tags" Target="../tags/tag85.xml"/><Relationship Id="rId18" Type="http://schemas.openxmlformats.org/officeDocument/2006/relationships/tags" Target="../tags/tag86.xml"/><Relationship Id="rId19" Type="http://schemas.openxmlformats.org/officeDocument/2006/relationships/tags" Target="../tags/tag87.xml"/><Relationship Id="rId1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2.xml"/><Relationship Id="rId3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5.xml"/><Relationship Id="rId6" Type="http://schemas.openxmlformats.org/officeDocument/2006/relationships/slideLayout" Target="../slideLayouts/slideLayout26.xml"/><Relationship Id="rId7" Type="http://schemas.openxmlformats.org/officeDocument/2006/relationships/theme" Target="../theme/theme5.xml"/><Relationship Id="rId8" Type="http://schemas.openxmlformats.org/officeDocument/2006/relationships/vmlDrawing" Target="../drawings/vmlDrawing11.v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tags" Target="../tags/tag99.xml"/><Relationship Id="rId20" Type="http://schemas.openxmlformats.org/officeDocument/2006/relationships/tags" Target="../tags/tag110.xml"/><Relationship Id="rId21" Type="http://schemas.openxmlformats.org/officeDocument/2006/relationships/tags" Target="../tags/tag111.xml"/><Relationship Id="rId22" Type="http://schemas.openxmlformats.org/officeDocument/2006/relationships/tags" Target="../tags/tag112.xml"/><Relationship Id="rId23" Type="http://schemas.openxmlformats.org/officeDocument/2006/relationships/tags" Target="../tags/tag113.xml"/><Relationship Id="rId24" Type="http://schemas.openxmlformats.org/officeDocument/2006/relationships/tags" Target="../tags/tag114.xml"/><Relationship Id="rId25" Type="http://schemas.openxmlformats.org/officeDocument/2006/relationships/tags" Target="../tags/tag115.xml"/><Relationship Id="rId26" Type="http://schemas.openxmlformats.org/officeDocument/2006/relationships/tags" Target="../tags/tag116.xml"/><Relationship Id="rId27" Type="http://schemas.openxmlformats.org/officeDocument/2006/relationships/tags" Target="../tags/tag117.xml"/><Relationship Id="rId28" Type="http://schemas.openxmlformats.org/officeDocument/2006/relationships/oleObject" Target="../embeddings/oleObject14.bin"/><Relationship Id="rId29" Type="http://schemas.openxmlformats.org/officeDocument/2006/relationships/image" Target="../media/image2.emf"/><Relationship Id="rId30" Type="http://schemas.openxmlformats.org/officeDocument/2006/relationships/image" Target="../media/image3.png"/><Relationship Id="rId10" Type="http://schemas.openxmlformats.org/officeDocument/2006/relationships/tags" Target="../tags/tag100.xml"/><Relationship Id="rId11" Type="http://schemas.openxmlformats.org/officeDocument/2006/relationships/tags" Target="../tags/tag101.xml"/><Relationship Id="rId12" Type="http://schemas.openxmlformats.org/officeDocument/2006/relationships/tags" Target="../tags/tag102.xml"/><Relationship Id="rId13" Type="http://schemas.openxmlformats.org/officeDocument/2006/relationships/tags" Target="../tags/tag103.xml"/><Relationship Id="rId14" Type="http://schemas.openxmlformats.org/officeDocument/2006/relationships/tags" Target="../tags/tag104.xml"/><Relationship Id="rId15" Type="http://schemas.openxmlformats.org/officeDocument/2006/relationships/tags" Target="../tags/tag105.xml"/><Relationship Id="rId16" Type="http://schemas.openxmlformats.org/officeDocument/2006/relationships/tags" Target="../tags/tag106.xml"/><Relationship Id="rId17" Type="http://schemas.openxmlformats.org/officeDocument/2006/relationships/tags" Target="../tags/tag107.xml"/><Relationship Id="rId18" Type="http://schemas.openxmlformats.org/officeDocument/2006/relationships/tags" Target="../tags/tag108.xml"/><Relationship Id="rId19" Type="http://schemas.openxmlformats.org/officeDocument/2006/relationships/tags" Target="../tags/tag109.xml"/><Relationship Id="rId1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9.xml"/><Relationship Id="rId4" Type="http://schemas.openxmlformats.org/officeDocument/2006/relationships/slideLayout" Target="../slideLayouts/slideLayout30.xml"/><Relationship Id="rId5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2.xml"/><Relationship Id="rId7" Type="http://schemas.openxmlformats.org/officeDocument/2006/relationships/theme" Target="../theme/theme6.xml"/><Relationship Id="rId8" Type="http://schemas.openxmlformats.org/officeDocument/2006/relationships/vmlDrawing" Target="../drawings/vmlDrawing14.v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tags" Target="../tags/tag125.xml"/><Relationship Id="rId20" Type="http://schemas.openxmlformats.org/officeDocument/2006/relationships/tags" Target="../tags/tag136.xml"/><Relationship Id="rId21" Type="http://schemas.openxmlformats.org/officeDocument/2006/relationships/tags" Target="../tags/tag137.xml"/><Relationship Id="rId22" Type="http://schemas.openxmlformats.org/officeDocument/2006/relationships/tags" Target="../tags/tag138.xml"/><Relationship Id="rId23" Type="http://schemas.openxmlformats.org/officeDocument/2006/relationships/tags" Target="../tags/tag139.xml"/><Relationship Id="rId24" Type="http://schemas.openxmlformats.org/officeDocument/2006/relationships/tags" Target="../tags/tag140.xml"/><Relationship Id="rId25" Type="http://schemas.openxmlformats.org/officeDocument/2006/relationships/oleObject" Target="../embeddings/oleObject17.bin"/><Relationship Id="rId26" Type="http://schemas.openxmlformats.org/officeDocument/2006/relationships/image" Target="../media/image2.emf"/><Relationship Id="rId27" Type="http://schemas.openxmlformats.org/officeDocument/2006/relationships/image" Target="../media/image3.png"/><Relationship Id="rId10" Type="http://schemas.openxmlformats.org/officeDocument/2006/relationships/tags" Target="../tags/tag126.xml"/><Relationship Id="rId11" Type="http://schemas.openxmlformats.org/officeDocument/2006/relationships/tags" Target="../tags/tag127.xml"/><Relationship Id="rId12" Type="http://schemas.openxmlformats.org/officeDocument/2006/relationships/tags" Target="../tags/tag128.xml"/><Relationship Id="rId13" Type="http://schemas.openxmlformats.org/officeDocument/2006/relationships/tags" Target="../tags/tag129.xml"/><Relationship Id="rId14" Type="http://schemas.openxmlformats.org/officeDocument/2006/relationships/tags" Target="../tags/tag130.xml"/><Relationship Id="rId15" Type="http://schemas.openxmlformats.org/officeDocument/2006/relationships/tags" Target="../tags/tag131.xml"/><Relationship Id="rId16" Type="http://schemas.openxmlformats.org/officeDocument/2006/relationships/tags" Target="../tags/tag132.xml"/><Relationship Id="rId17" Type="http://schemas.openxmlformats.org/officeDocument/2006/relationships/tags" Target="../tags/tag133.xml"/><Relationship Id="rId18" Type="http://schemas.openxmlformats.org/officeDocument/2006/relationships/tags" Target="../tags/tag134.xml"/><Relationship Id="rId19" Type="http://schemas.openxmlformats.org/officeDocument/2006/relationships/tags" Target="../tags/tag135.xml"/><Relationship Id="rId1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4.xml"/><Relationship Id="rId3" Type="http://schemas.openxmlformats.org/officeDocument/2006/relationships/slideLayout" Target="../slideLayouts/slideLayout35.xml"/><Relationship Id="rId4" Type="http://schemas.openxmlformats.org/officeDocument/2006/relationships/theme" Target="../theme/theme7.xml"/><Relationship Id="rId5" Type="http://schemas.openxmlformats.org/officeDocument/2006/relationships/vmlDrawing" Target="../drawings/vmlDrawing17.vml"/><Relationship Id="rId6" Type="http://schemas.openxmlformats.org/officeDocument/2006/relationships/tags" Target="../tags/tag122.xml"/><Relationship Id="rId7" Type="http://schemas.openxmlformats.org/officeDocument/2006/relationships/tags" Target="../tags/tag123.xml"/><Relationship Id="rId8" Type="http://schemas.openxmlformats.org/officeDocument/2006/relationships/tags" Target="../tags/tag124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tags" Target="../tags/tag144.xml"/><Relationship Id="rId20" Type="http://schemas.openxmlformats.org/officeDocument/2006/relationships/tags" Target="../tags/tag155.xml"/><Relationship Id="rId21" Type="http://schemas.openxmlformats.org/officeDocument/2006/relationships/tags" Target="../tags/tag156.xml"/><Relationship Id="rId22" Type="http://schemas.openxmlformats.org/officeDocument/2006/relationships/tags" Target="../tags/tag157.xml"/><Relationship Id="rId23" Type="http://schemas.openxmlformats.org/officeDocument/2006/relationships/tags" Target="../tags/tag158.xml"/><Relationship Id="rId24" Type="http://schemas.openxmlformats.org/officeDocument/2006/relationships/tags" Target="../tags/tag159.xml"/><Relationship Id="rId25" Type="http://schemas.openxmlformats.org/officeDocument/2006/relationships/tags" Target="../tags/tag160.xml"/><Relationship Id="rId26" Type="http://schemas.openxmlformats.org/officeDocument/2006/relationships/oleObject" Target="../embeddings/oleObject19.bin"/><Relationship Id="rId27" Type="http://schemas.openxmlformats.org/officeDocument/2006/relationships/image" Target="../media/image2.emf"/><Relationship Id="rId28" Type="http://schemas.openxmlformats.org/officeDocument/2006/relationships/image" Target="../media/image3.png"/><Relationship Id="rId10" Type="http://schemas.openxmlformats.org/officeDocument/2006/relationships/tags" Target="../tags/tag145.xml"/><Relationship Id="rId11" Type="http://schemas.openxmlformats.org/officeDocument/2006/relationships/tags" Target="../tags/tag146.xml"/><Relationship Id="rId12" Type="http://schemas.openxmlformats.org/officeDocument/2006/relationships/tags" Target="../tags/tag147.xml"/><Relationship Id="rId13" Type="http://schemas.openxmlformats.org/officeDocument/2006/relationships/tags" Target="../tags/tag148.xml"/><Relationship Id="rId14" Type="http://schemas.openxmlformats.org/officeDocument/2006/relationships/tags" Target="../tags/tag149.xml"/><Relationship Id="rId15" Type="http://schemas.openxmlformats.org/officeDocument/2006/relationships/tags" Target="../tags/tag150.xml"/><Relationship Id="rId16" Type="http://schemas.openxmlformats.org/officeDocument/2006/relationships/tags" Target="../tags/tag151.xml"/><Relationship Id="rId17" Type="http://schemas.openxmlformats.org/officeDocument/2006/relationships/tags" Target="../tags/tag152.xml"/><Relationship Id="rId18" Type="http://schemas.openxmlformats.org/officeDocument/2006/relationships/tags" Target="../tags/tag153.xml"/><Relationship Id="rId19" Type="http://schemas.openxmlformats.org/officeDocument/2006/relationships/tags" Target="../tags/tag154.xml"/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theme" Target="../theme/theme8.xml"/><Relationship Id="rId6" Type="http://schemas.openxmlformats.org/officeDocument/2006/relationships/vmlDrawing" Target="../drawings/vmlDrawing19.vml"/><Relationship Id="rId7" Type="http://schemas.openxmlformats.org/officeDocument/2006/relationships/tags" Target="../tags/tag142.xml"/><Relationship Id="rId8" Type="http://schemas.openxmlformats.org/officeDocument/2006/relationships/tags" Target="../tags/tag143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tags" Target="../tags/tag165.xml"/><Relationship Id="rId20" Type="http://schemas.openxmlformats.org/officeDocument/2006/relationships/tags" Target="../tags/tag176.xml"/><Relationship Id="rId21" Type="http://schemas.openxmlformats.org/officeDocument/2006/relationships/tags" Target="../tags/tag177.xml"/><Relationship Id="rId22" Type="http://schemas.openxmlformats.org/officeDocument/2006/relationships/tags" Target="../tags/tag178.xml"/><Relationship Id="rId23" Type="http://schemas.openxmlformats.org/officeDocument/2006/relationships/tags" Target="../tags/tag179.xml"/><Relationship Id="rId24" Type="http://schemas.openxmlformats.org/officeDocument/2006/relationships/tags" Target="../tags/tag180.xml"/><Relationship Id="rId25" Type="http://schemas.openxmlformats.org/officeDocument/2006/relationships/tags" Target="../tags/tag181.xml"/><Relationship Id="rId26" Type="http://schemas.openxmlformats.org/officeDocument/2006/relationships/oleObject" Target="../embeddings/oleObject22.bin"/><Relationship Id="rId27" Type="http://schemas.openxmlformats.org/officeDocument/2006/relationships/image" Target="../media/image2.emf"/><Relationship Id="rId28" Type="http://schemas.openxmlformats.org/officeDocument/2006/relationships/image" Target="../media/image3.png"/><Relationship Id="rId10" Type="http://schemas.openxmlformats.org/officeDocument/2006/relationships/tags" Target="../tags/tag166.xml"/><Relationship Id="rId11" Type="http://schemas.openxmlformats.org/officeDocument/2006/relationships/tags" Target="../tags/tag167.xml"/><Relationship Id="rId12" Type="http://schemas.openxmlformats.org/officeDocument/2006/relationships/tags" Target="../tags/tag168.xml"/><Relationship Id="rId13" Type="http://schemas.openxmlformats.org/officeDocument/2006/relationships/tags" Target="../tags/tag169.xml"/><Relationship Id="rId14" Type="http://schemas.openxmlformats.org/officeDocument/2006/relationships/tags" Target="../tags/tag170.xml"/><Relationship Id="rId15" Type="http://schemas.openxmlformats.org/officeDocument/2006/relationships/tags" Target="../tags/tag171.xml"/><Relationship Id="rId16" Type="http://schemas.openxmlformats.org/officeDocument/2006/relationships/tags" Target="../tags/tag172.xml"/><Relationship Id="rId17" Type="http://schemas.openxmlformats.org/officeDocument/2006/relationships/tags" Target="../tags/tag173.xml"/><Relationship Id="rId18" Type="http://schemas.openxmlformats.org/officeDocument/2006/relationships/tags" Target="../tags/tag174.xml"/><Relationship Id="rId19" Type="http://schemas.openxmlformats.org/officeDocument/2006/relationships/tags" Target="../tags/tag175.xml"/><Relationship Id="rId1" Type="http://schemas.openxmlformats.org/officeDocument/2006/relationships/slideLayout" Target="../slideLayouts/slideLayout40.xml"/><Relationship Id="rId2" Type="http://schemas.openxmlformats.org/officeDocument/2006/relationships/slideLayout" Target="../slideLayouts/slideLayout41.xml"/><Relationship Id="rId3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3.xml"/><Relationship Id="rId5" Type="http://schemas.openxmlformats.org/officeDocument/2006/relationships/theme" Target="../theme/theme9.xml"/><Relationship Id="rId6" Type="http://schemas.openxmlformats.org/officeDocument/2006/relationships/vmlDrawing" Target="../drawings/vmlDrawing22.vml"/><Relationship Id="rId7" Type="http://schemas.openxmlformats.org/officeDocument/2006/relationships/tags" Target="../tags/tag163.xml"/><Relationship Id="rId8" Type="http://schemas.openxmlformats.org/officeDocument/2006/relationships/tags" Target="../tags/tag1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88041308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lede 7" descr="DONG Energy CMYK.jp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7380312" y="6165304"/>
            <a:ext cx="1389600" cy="444881"/>
          </a:xfrm>
          <a:prstGeom prst="rect">
            <a:avLst/>
          </a:prstGeom>
        </p:spPr>
      </p:pic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0000" y="1328738"/>
            <a:ext cx="8425650" cy="4621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70475" y="61690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0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0000" y="6169025"/>
            <a:ext cx="360045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0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51338" y="6169025"/>
            <a:ext cx="442912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ctr">
              <a:buFontTx/>
              <a:buNone/>
              <a:defRPr sz="10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976C159F-270B-4884-AD34-0650DAF41DBF}" type="slidenum">
              <a:rPr lang="da-DK"/>
              <a:pPr>
                <a:defRPr/>
              </a:pPr>
              <a:t>‹#›</a:t>
            </a:fld>
            <a:endParaRPr lang="da-DK"/>
          </a:p>
        </p:txBody>
      </p:sp>
      <p:sp>
        <p:nvSpPr>
          <p:cNvPr id="2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360000" y="338400"/>
            <a:ext cx="8427248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/>
              <a:t>Klik for at redigere titeltypografi i mastere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2" r:id="rId2"/>
    <p:sldLayoutId id="2147483664" r:id="rId3"/>
    <p:sldLayoutId id="2147483666" r:id="rId4"/>
    <p:sldLayoutId id="2147483667" r:id="rId5"/>
    <p:sldLayoutId id="2147483670" r:id="rId6"/>
    <p:sldLayoutId id="2147483671" r:id="rId7"/>
    <p:sldLayoutId id="2147483674" r:id="rId8"/>
    <p:sldLayoutId id="2147483679" r:id="rId9"/>
  </p:sldLayoutIdLst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82563" indent="-182563" algn="l" rtl="0" eaLnBrk="1" fontAlgn="base" hangingPunct="1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4625" algn="l" rtl="0" eaLnBrk="1" fontAlgn="base" hangingPunct="1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538163" indent="-177800" algn="l" rtl="0" eaLnBrk="1" fontAlgn="base" hangingPunct="1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3pPr>
      <a:lvl4pPr marL="725488" indent="-185738" algn="l" rtl="0" eaLnBrk="1" fontAlgn="base" hangingPunct="1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887413" indent="-160338" algn="l" rtl="0" eaLnBrk="1" fontAlgn="base" hangingPunct="1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5pPr>
      <a:lvl6pPr marL="1344613" indent="-160338" algn="l" rtl="0" eaLnBrk="1" fontAlgn="base" hangingPunct="1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01813" indent="-160338" algn="l" rtl="0" eaLnBrk="1" fontAlgn="base" hangingPunct="1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59013" indent="-160338" algn="l" rtl="0" eaLnBrk="1" fontAlgn="base" hangingPunct="1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16213" indent="-160338" algn="l" rtl="0" eaLnBrk="1" fontAlgn="base" hangingPunct="1">
        <a:spcBef>
          <a:spcPct val="20000"/>
        </a:spcBef>
        <a:spcAft>
          <a:spcPct val="0"/>
        </a:spcAft>
        <a:buSzPct val="80000"/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81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11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165304"/>
            <a:ext cx="139065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0034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43276"/>
            <a:endParaRPr lang="en-GB" sz="738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48595" y="2502725"/>
            <a:ext cx="1848263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54">
                <a:solidFill>
                  <a:srgbClr val="000000"/>
                </a:solidFill>
                <a:cs typeface="+mn-cs"/>
              </a:rPr>
              <a:t>Last Modified 27.03.2015 19:10 W. Europe Standard Time</a:t>
            </a:r>
            <a:endParaRPr lang="en-GB" sz="1477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47182" y="4720705"/>
            <a:ext cx="1651093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54">
                <a:solidFill>
                  <a:srgbClr val="000000"/>
                </a:solidFill>
                <a:cs typeface="+mn-cs"/>
              </a:rPr>
              <a:t>Printed 24.02.2015 08:23 W. Europe Standard Time</a:t>
            </a:r>
            <a:endParaRPr lang="en-GB" sz="1477">
              <a:solidFill>
                <a:srgbClr val="000000"/>
              </a:solidFill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98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GB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60000" y="338400"/>
            <a:ext cx="8410962" cy="312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60000" y="113259"/>
            <a:ext cx="793487" cy="198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92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60000" y="682802"/>
            <a:ext cx="8410962" cy="198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292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360001" y="6044374"/>
            <a:ext cx="6859950" cy="361198"/>
            <a:chOff x="75" y="3927"/>
            <a:chExt cx="5385" cy="2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7"/>
              <a:ext cx="5385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923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62"/>
              <a:ext cx="5385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62722" indent="-562722" defTabSz="843276">
                <a:tabLst>
                  <a:tab pos="570049" algn="l"/>
                </a:tabLst>
              </a:pPr>
              <a:r>
                <a:rPr lang="en-GB" sz="923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509410"/>
            <a:ext cx="4389768" cy="416274"/>
            <a:chOff x="915" y="773"/>
            <a:chExt cx="2686" cy="25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73"/>
              <a:ext cx="2686" cy="25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292" b="1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sz="1292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07382" y="412839"/>
            <a:ext cx="725488" cy="984251"/>
            <a:chOff x="4936" y="176"/>
            <a:chExt cx="457" cy="620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699404" y="412839"/>
            <a:ext cx="1033464" cy="715963"/>
            <a:chOff x="4750" y="176"/>
            <a:chExt cx="651" cy="4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807554" y="412838"/>
            <a:ext cx="963405" cy="188962"/>
            <a:chOff x="7777370" y="285750"/>
            <a:chExt cx="963405" cy="188962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777370" y="285750"/>
              <a:ext cx="963405" cy="1889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144" rIns="0" bIns="9144">
              <a:spAutoFit/>
            </a:bodyPr>
            <a:lstStyle/>
            <a:p>
              <a:pPr algn="r"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0"/>
            </p:cNvCxnSpPr>
            <p:nvPr/>
          </p:nvCxnSpPr>
          <p:spPr bwMode="auto">
            <a:xfrm>
              <a:off x="7777370" y="285750"/>
              <a:ext cx="963405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777370" y="474712"/>
              <a:ext cx="963405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 bwMode="auto">
          <a:xfrm>
            <a:off x="7940533" y="412837"/>
            <a:ext cx="791958" cy="1306516"/>
            <a:chOff x="6655594" y="273840"/>
            <a:chExt cx="791957" cy="1306516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</p:grpSp>
      <p:grpSp>
        <p:nvGrpSpPr>
          <p:cNvPr id="64" name="McK Moon" hidden="1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2097088" y="3886200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2629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</p:sldLayoutIdLst>
  <p:hf sldNum="0" hdr="0" ftr="0" dt="0"/>
  <p:txStyles>
    <p:titleStyle>
      <a:lvl1pPr algn="l" defTabSz="843276" rtl="0" eaLnBrk="1" fontAlgn="base" hangingPunct="1">
        <a:spcBef>
          <a:spcPct val="0"/>
        </a:spcBef>
        <a:spcAft>
          <a:spcPct val="0"/>
        </a:spcAft>
        <a:tabLst>
          <a:tab pos="340899" algn="l"/>
        </a:tabLst>
        <a:defRPr sz="2031" b="1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2pPr>
      <a:lvl3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3pPr>
      <a:lvl4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4pPr>
      <a:lvl5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5pPr>
      <a:lvl6pPr marL="430609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6pPr>
      <a:lvl7pPr marL="861217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7pPr>
      <a:lvl8pPr marL="1291826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8pPr>
      <a:lvl9pPr marL="1722435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67058" indent="-165593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386871" indent="-211021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562722" indent="-175851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12195" indent="-140680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6pPr>
      <a:lvl7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7pPr>
      <a:lvl8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8pPr>
      <a:lvl9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30609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61217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91826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722435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53044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83653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3014261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444870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1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11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165304"/>
            <a:ext cx="139065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0034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43276"/>
            <a:endParaRPr lang="en-GB" sz="738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48595" y="2502725"/>
            <a:ext cx="1848263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54">
                <a:solidFill>
                  <a:srgbClr val="000000"/>
                </a:solidFill>
              </a:rPr>
              <a:t>Last Modified 27.03.2015 19:10 W. Europe Standard Time</a:t>
            </a:r>
            <a:endParaRPr lang="en-GB" sz="1477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47182" y="4720705"/>
            <a:ext cx="1651093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54">
                <a:solidFill>
                  <a:srgbClr val="000000"/>
                </a:solidFill>
              </a:rPr>
              <a:t>Printed 24.02.2015 08:23 W. Europe Standard Time</a:t>
            </a:r>
            <a:endParaRPr lang="en-GB" sz="1477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98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GB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60000" y="338400"/>
            <a:ext cx="8410962" cy="312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60000" y="113259"/>
            <a:ext cx="793487" cy="198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92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60000" y="682802"/>
            <a:ext cx="8410962" cy="198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292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360001" y="6044374"/>
            <a:ext cx="6859950" cy="361198"/>
            <a:chOff x="75" y="3927"/>
            <a:chExt cx="5385" cy="2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7"/>
              <a:ext cx="5385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923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62"/>
              <a:ext cx="5385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62722" indent="-562722" defTabSz="843276">
                <a:tabLst>
                  <a:tab pos="570049" algn="l"/>
                </a:tabLst>
              </a:pPr>
              <a:r>
                <a:rPr lang="en-GB" sz="923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509410"/>
            <a:ext cx="4389768" cy="416274"/>
            <a:chOff x="915" y="773"/>
            <a:chExt cx="2686" cy="25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73"/>
              <a:ext cx="2686" cy="25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292" b="1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sz="1292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07382" y="412839"/>
            <a:ext cx="725488" cy="984251"/>
            <a:chOff x="4936" y="176"/>
            <a:chExt cx="457" cy="620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699404" y="412839"/>
            <a:ext cx="1033464" cy="715963"/>
            <a:chOff x="4750" y="176"/>
            <a:chExt cx="651" cy="4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77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77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77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807554" y="412838"/>
            <a:ext cx="963405" cy="188962"/>
            <a:chOff x="7777370" y="285750"/>
            <a:chExt cx="963405" cy="188962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777370" y="285750"/>
              <a:ext cx="963405" cy="1889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144" rIns="0" bIns="9144">
              <a:spAutoFit/>
            </a:bodyPr>
            <a:lstStyle/>
            <a:p>
              <a:pPr algn="r"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0"/>
            </p:cNvCxnSpPr>
            <p:nvPr/>
          </p:nvCxnSpPr>
          <p:spPr bwMode="auto">
            <a:xfrm>
              <a:off x="7777370" y="285750"/>
              <a:ext cx="963405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777370" y="474712"/>
              <a:ext cx="963405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 bwMode="auto">
          <a:xfrm>
            <a:off x="7940533" y="412837"/>
            <a:ext cx="791958" cy="1306516"/>
            <a:chOff x="6655594" y="273840"/>
            <a:chExt cx="791957" cy="1306516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64" name="McK Moon" hidden="1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2097088" y="3886200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395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</p:sldLayoutIdLst>
  <p:hf sldNum="0" hdr="0" ftr="0" dt="0"/>
  <p:txStyles>
    <p:titleStyle>
      <a:lvl1pPr algn="l" defTabSz="843276" rtl="0" eaLnBrk="1" fontAlgn="base" hangingPunct="1">
        <a:spcBef>
          <a:spcPct val="0"/>
        </a:spcBef>
        <a:spcAft>
          <a:spcPct val="0"/>
        </a:spcAft>
        <a:tabLst>
          <a:tab pos="340899" algn="l"/>
        </a:tabLst>
        <a:defRPr sz="2031" b="1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2pPr>
      <a:lvl3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3pPr>
      <a:lvl4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4pPr>
      <a:lvl5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5pPr>
      <a:lvl6pPr marL="430609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6pPr>
      <a:lvl7pPr marL="861217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7pPr>
      <a:lvl8pPr marL="1291826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8pPr>
      <a:lvl9pPr marL="1722435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67058" indent="-165593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386871" indent="-211021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562722" indent="-175851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12195" indent="-140680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6pPr>
      <a:lvl7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7pPr>
      <a:lvl8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8pPr>
      <a:lvl9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30609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61217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91826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722435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53044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83653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3014261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444870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03752690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11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165304"/>
            <a:ext cx="139065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00348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GB" sz="8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71838" y="2499198"/>
            <a:ext cx="18017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cs typeface="+mn-cs"/>
              </a:rPr>
              <a:t>Last Modified 03.03.2015 18:58 GMT Standard Time</a:t>
            </a:r>
            <a:endParaRPr lang="en-GB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82259" y="4717178"/>
            <a:ext cx="178093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cs typeface="+mn-cs"/>
              </a:rPr>
              <a:t>Printed 24.02.2015 08:23 W. Europe Standard Time</a:t>
            </a:r>
            <a:endParaRPr lang="en-GB">
              <a:solidFill>
                <a:srgbClr val="000000"/>
              </a:solidFill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GB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60000" y="338400"/>
            <a:ext cx="841096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60000" y="113258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0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60000" y="682801"/>
            <a:ext cx="84109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40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360000" y="6033035"/>
            <a:ext cx="6859950" cy="372536"/>
            <a:chOff x="75" y="3920"/>
            <a:chExt cx="5385" cy="23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0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100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09600" indent="-609600" defTabSz="913526">
                <a:tabLst>
                  <a:tab pos="617538" algn="l"/>
                </a:tabLst>
              </a:pPr>
              <a:r>
                <a:rPr lang="en-GB" sz="100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477015"/>
            <a:ext cx="4389768" cy="448669"/>
            <a:chOff x="915" y="753"/>
            <a:chExt cx="2686" cy="27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53"/>
              <a:ext cx="2686" cy="27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400" b="1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sz="1400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07374" y="412837"/>
            <a:ext cx="763588" cy="996951"/>
            <a:chOff x="4936" y="176"/>
            <a:chExt cx="481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699399" y="412837"/>
            <a:ext cx="1071563" cy="730251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6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6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6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731768" y="412837"/>
            <a:ext cx="1039194" cy="203133"/>
            <a:chOff x="7701581" y="285750"/>
            <a:chExt cx="1039194" cy="203133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701581" y="285750"/>
              <a:ext cx="1039194" cy="2031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144" rIns="0" bIns="9144">
              <a:spAutoFit/>
            </a:bodyPr>
            <a:lstStyle/>
            <a:p>
              <a:pPr algn="r"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0"/>
            </p:cNvCxnSpPr>
            <p:nvPr/>
          </p:nvCxnSpPr>
          <p:spPr bwMode="auto">
            <a:xfrm>
              <a:off x="7701581" y="285750"/>
              <a:ext cx="1039194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701581" y="488883"/>
              <a:ext cx="1039194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 bwMode="auto">
          <a:xfrm>
            <a:off x="7940532" y="412837"/>
            <a:ext cx="830430" cy="1306516"/>
            <a:chOff x="6655594" y="273840"/>
            <a:chExt cx="830430" cy="1306516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</p:grpSp>
      <p:grpSp>
        <p:nvGrpSpPr>
          <p:cNvPr id="64" name="McK Moon" hidden="1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2097088" y="3886200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0290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812" r:id="rId3"/>
    <p:sldLayoutId id="2147483813" r:id="rId4"/>
    <p:sldLayoutId id="2147483815" r:id="rId5"/>
    <p:sldLayoutId id="2147483816" r:id="rId6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9298" algn="l"/>
        </a:tabLst>
        <a:defRPr sz="2200" b="1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80975" indent="-17938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19100" indent="-22860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09600" indent="-19050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71525" indent="-15240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79475281"/>
              </p:ext>
            </p:extLst>
          </p:nvPr>
        </p:nvGraphicFramePr>
        <p:xfrm>
          <a:off x="1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7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11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165304"/>
            <a:ext cx="139065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0034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43276"/>
            <a:endParaRPr lang="en-GB" sz="738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48595" y="2502725"/>
            <a:ext cx="1848263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54">
                <a:solidFill>
                  <a:srgbClr val="000000"/>
                </a:solidFill>
                <a:cs typeface="+mn-cs"/>
              </a:rPr>
              <a:t>Last Modified 27.03.2015 19:10 W. Europe Standard Time</a:t>
            </a:r>
            <a:endParaRPr lang="en-GB" sz="1477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47182" y="4720705"/>
            <a:ext cx="1651093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54">
                <a:solidFill>
                  <a:srgbClr val="000000"/>
                </a:solidFill>
                <a:cs typeface="+mn-cs"/>
              </a:rPr>
              <a:t>Printed 24.02.2015 08:23 W. Europe Standard Time</a:t>
            </a:r>
            <a:endParaRPr lang="en-GB" sz="1477">
              <a:solidFill>
                <a:srgbClr val="000000"/>
              </a:solidFill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98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GB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60000" y="338400"/>
            <a:ext cx="8410962" cy="312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60000" y="113259"/>
            <a:ext cx="793487" cy="198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92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60000" y="682802"/>
            <a:ext cx="8410962" cy="198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292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360001" y="6044374"/>
            <a:ext cx="6859950" cy="361198"/>
            <a:chOff x="75" y="3927"/>
            <a:chExt cx="5385" cy="2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7"/>
              <a:ext cx="5385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923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62"/>
              <a:ext cx="5385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62722" indent="-562722" defTabSz="843276">
                <a:tabLst>
                  <a:tab pos="570049" algn="l"/>
                </a:tabLst>
              </a:pPr>
              <a:r>
                <a:rPr lang="en-GB" sz="923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509410"/>
            <a:ext cx="4389768" cy="416274"/>
            <a:chOff x="915" y="773"/>
            <a:chExt cx="2686" cy="25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73"/>
              <a:ext cx="2686" cy="25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292" b="1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sz="1292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07382" y="412839"/>
            <a:ext cx="725488" cy="984251"/>
            <a:chOff x="4936" y="176"/>
            <a:chExt cx="457" cy="620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699404" y="412839"/>
            <a:ext cx="1033464" cy="715963"/>
            <a:chOff x="4750" y="176"/>
            <a:chExt cx="651" cy="4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807554" y="412838"/>
            <a:ext cx="963405" cy="188962"/>
            <a:chOff x="7777370" y="285750"/>
            <a:chExt cx="963405" cy="188962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777370" y="285750"/>
              <a:ext cx="963405" cy="1889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144" rIns="0" bIns="9144">
              <a:spAutoFit/>
            </a:bodyPr>
            <a:lstStyle/>
            <a:p>
              <a:pPr algn="r"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0"/>
            </p:cNvCxnSpPr>
            <p:nvPr/>
          </p:nvCxnSpPr>
          <p:spPr bwMode="auto">
            <a:xfrm>
              <a:off x="7777370" y="285750"/>
              <a:ext cx="963405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777370" y="474712"/>
              <a:ext cx="963405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 bwMode="auto">
          <a:xfrm>
            <a:off x="7940533" y="412837"/>
            <a:ext cx="791958" cy="1306516"/>
            <a:chOff x="6655594" y="273840"/>
            <a:chExt cx="791957" cy="1306516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</p:grpSp>
      <p:grpSp>
        <p:nvGrpSpPr>
          <p:cNvPr id="64" name="McK Moon" hidden="1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2097088" y="3886200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29685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</p:sldLayoutIdLst>
  <p:hf sldNum="0" hdr="0" ftr="0" dt="0"/>
  <p:txStyles>
    <p:titleStyle>
      <a:lvl1pPr algn="l" defTabSz="843276" rtl="0" eaLnBrk="1" fontAlgn="base" hangingPunct="1">
        <a:spcBef>
          <a:spcPct val="0"/>
        </a:spcBef>
        <a:spcAft>
          <a:spcPct val="0"/>
        </a:spcAft>
        <a:tabLst>
          <a:tab pos="340899" algn="l"/>
        </a:tabLst>
        <a:defRPr sz="2031" b="1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2pPr>
      <a:lvl3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3pPr>
      <a:lvl4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4pPr>
      <a:lvl5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5pPr>
      <a:lvl6pPr marL="430609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6pPr>
      <a:lvl7pPr marL="861217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7pPr>
      <a:lvl8pPr marL="1291826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8pPr>
      <a:lvl9pPr marL="1722435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67058" indent="-165593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386871" indent="-211021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562722" indent="-175851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12195" indent="-140680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6pPr>
      <a:lvl7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7pPr>
      <a:lvl8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8pPr>
      <a:lvl9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30609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61217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91826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722435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53044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83653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3014261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444870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11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165304"/>
            <a:ext cx="139065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00348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GB" sz="8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71838" y="2499198"/>
            <a:ext cx="18017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cs typeface="+mn-cs"/>
              </a:rPr>
              <a:t>Last Modified 03.03.2015 18:58 GMT Standard Time</a:t>
            </a:r>
            <a:endParaRPr lang="en-GB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82259" y="4717178"/>
            <a:ext cx="178093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cs typeface="+mn-cs"/>
              </a:rPr>
              <a:t>Printed 24.02.2015 08:23 W. Europe Standard Time</a:t>
            </a:r>
            <a:endParaRPr lang="en-GB">
              <a:solidFill>
                <a:srgbClr val="000000"/>
              </a:solidFill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GB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60000" y="338400"/>
            <a:ext cx="841096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60000" y="113258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0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60000" y="682801"/>
            <a:ext cx="84109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40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360000" y="6033035"/>
            <a:ext cx="6859950" cy="372536"/>
            <a:chOff x="75" y="3920"/>
            <a:chExt cx="5385" cy="23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0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100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09600" indent="-609600" defTabSz="913526">
                <a:tabLst>
                  <a:tab pos="617538" algn="l"/>
                </a:tabLst>
              </a:pPr>
              <a:r>
                <a:rPr lang="en-GB" sz="100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477015"/>
            <a:ext cx="4389768" cy="448669"/>
            <a:chOff x="915" y="753"/>
            <a:chExt cx="2686" cy="27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53"/>
              <a:ext cx="2686" cy="27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400" b="1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sz="1400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07374" y="412837"/>
            <a:ext cx="763588" cy="996951"/>
            <a:chOff x="4936" y="176"/>
            <a:chExt cx="481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699399" y="412837"/>
            <a:ext cx="1071563" cy="730251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6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6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6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731768" y="412837"/>
            <a:ext cx="1039194" cy="203133"/>
            <a:chOff x="7701581" y="285750"/>
            <a:chExt cx="1039194" cy="203133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701581" y="285750"/>
              <a:ext cx="1039194" cy="2031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144" rIns="0" bIns="9144">
              <a:spAutoFit/>
            </a:bodyPr>
            <a:lstStyle/>
            <a:p>
              <a:pPr algn="r"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0"/>
            </p:cNvCxnSpPr>
            <p:nvPr/>
          </p:nvCxnSpPr>
          <p:spPr bwMode="auto">
            <a:xfrm>
              <a:off x="7701581" y="285750"/>
              <a:ext cx="1039194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701581" y="488883"/>
              <a:ext cx="1039194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 bwMode="auto">
          <a:xfrm>
            <a:off x="7940532" y="412837"/>
            <a:ext cx="830430" cy="1306516"/>
            <a:chOff x="6655594" y="273840"/>
            <a:chExt cx="830430" cy="1306516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</p:grpSp>
      <p:grpSp>
        <p:nvGrpSpPr>
          <p:cNvPr id="64" name="McK 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2097088" y="3886200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0754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9298" algn="l"/>
        </a:tabLst>
        <a:defRPr sz="2200" b="1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80975" indent="-17938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19100" indent="-22860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09600" indent="-19050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71525" indent="-15240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1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0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11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165304"/>
            <a:ext cx="139065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0034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43276"/>
            <a:endParaRPr lang="en-GB" sz="738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48595" y="2502725"/>
            <a:ext cx="1848263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54">
                <a:solidFill>
                  <a:srgbClr val="000000"/>
                </a:solidFill>
                <a:cs typeface="+mn-cs"/>
              </a:rPr>
              <a:t>Last Modified 27.03.2015 19:10 W. Europe Standard Time</a:t>
            </a:r>
            <a:endParaRPr lang="en-GB" sz="1477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47182" y="4720705"/>
            <a:ext cx="1651093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54">
                <a:solidFill>
                  <a:srgbClr val="000000"/>
                </a:solidFill>
                <a:cs typeface="+mn-cs"/>
              </a:rPr>
              <a:t>Printed 24.02.2015 08:23 W. Europe Standard Time</a:t>
            </a:r>
            <a:endParaRPr lang="en-GB" sz="1477">
              <a:solidFill>
                <a:srgbClr val="000000"/>
              </a:solidFill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98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GB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60000" y="338400"/>
            <a:ext cx="8410962" cy="312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60000" y="113259"/>
            <a:ext cx="793487" cy="198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92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60000" y="682802"/>
            <a:ext cx="8410962" cy="198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292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360001" y="6044374"/>
            <a:ext cx="6859950" cy="361198"/>
            <a:chOff x="75" y="3927"/>
            <a:chExt cx="5385" cy="2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7"/>
              <a:ext cx="5385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923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62"/>
              <a:ext cx="5385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62722" indent="-562722" defTabSz="843276">
                <a:tabLst>
                  <a:tab pos="570049" algn="l"/>
                </a:tabLst>
              </a:pPr>
              <a:r>
                <a:rPr lang="en-GB" sz="923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509410"/>
            <a:ext cx="4389768" cy="416274"/>
            <a:chOff x="915" y="773"/>
            <a:chExt cx="2686" cy="25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73"/>
              <a:ext cx="2686" cy="25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292" b="1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sz="1292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07382" y="412839"/>
            <a:ext cx="725488" cy="984251"/>
            <a:chOff x="4936" y="176"/>
            <a:chExt cx="457" cy="620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699404" y="412839"/>
            <a:ext cx="1033464" cy="715963"/>
            <a:chOff x="4750" y="176"/>
            <a:chExt cx="651" cy="4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807554" y="412838"/>
            <a:ext cx="963405" cy="188962"/>
            <a:chOff x="7777370" y="285750"/>
            <a:chExt cx="963405" cy="188962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777370" y="285750"/>
              <a:ext cx="963405" cy="1889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144" rIns="0" bIns="9144">
              <a:spAutoFit/>
            </a:bodyPr>
            <a:lstStyle/>
            <a:p>
              <a:pPr algn="r"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0"/>
            </p:cNvCxnSpPr>
            <p:nvPr/>
          </p:nvCxnSpPr>
          <p:spPr bwMode="auto">
            <a:xfrm>
              <a:off x="7777370" y="285750"/>
              <a:ext cx="963405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777370" y="474712"/>
              <a:ext cx="963405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 bwMode="auto">
          <a:xfrm>
            <a:off x="7940533" y="412837"/>
            <a:ext cx="791958" cy="1306516"/>
            <a:chOff x="6655594" y="273840"/>
            <a:chExt cx="791957" cy="1306516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</p:grpSp>
      <p:grpSp>
        <p:nvGrpSpPr>
          <p:cNvPr id="64" name="McK Moon" hidden="1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2097088" y="3886200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2550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5" r:id="rId5"/>
    <p:sldLayoutId id="2147483706" r:id="rId6"/>
  </p:sldLayoutIdLst>
  <p:hf sldNum="0" hdr="0" ftr="0" dt="0"/>
  <p:txStyles>
    <p:titleStyle>
      <a:lvl1pPr algn="l" defTabSz="843276" rtl="0" eaLnBrk="1" fontAlgn="base" hangingPunct="1">
        <a:spcBef>
          <a:spcPct val="0"/>
        </a:spcBef>
        <a:spcAft>
          <a:spcPct val="0"/>
        </a:spcAft>
        <a:tabLst>
          <a:tab pos="340899" algn="l"/>
        </a:tabLst>
        <a:defRPr sz="2031" b="1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2pPr>
      <a:lvl3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3pPr>
      <a:lvl4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4pPr>
      <a:lvl5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5pPr>
      <a:lvl6pPr marL="430609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6pPr>
      <a:lvl7pPr marL="861217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7pPr>
      <a:lvl8pPr marL="1291826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8pPr>
      <a:lvl9pPr marL="1722435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67058" indent="-165593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386871" indent="-211021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562722" indent="-175851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12195" indent="-140680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6pPr>
      <a:lvl7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7pPr>
      <a:lvl8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8pPr>
      <a:lvl9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30609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61217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91826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722435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53044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83653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3014261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444870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1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22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11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165304"/>
            <a:ext cx="139065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0034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43276"/>
            <a:endParaRPr lang="en-GB" sz="738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48595" y="2502725"/>
            <a:ext cx="1848263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54">
                <a:solidFill>
                  <a:srgbClr val="000000"/>
                </a:solidFill>
                <a:cs typeface="+mn-cs"/>
              </a:rPr>
              <a:t>Last Modified 27.03.2015 19:10 W. Europe Standard Time</a:t>
            </a:r>
            <a:endParaRPr lang="en-GB" sz="1477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47182" y="4720705"/>
            <a:ext cx="1651093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54">
                <a:solidFill>
                  <a:srgbClr val="000000"/>
                </a:solidFill>
                <a:cs typeface="+mn-cs"/>
              </a:rPr>
              <a:t>Printed 24.02.2015 08:23 W. Europe Standard Time</a:t>
            </a:r>
            <a:endParaRPr lang="en-GB" sz="1477">
              <a:solidFill>
                <a:srgbClr val="000000"/>
              </a:solidFill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98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GB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60000" y="338400"/>
            <a:ext cx="8410962" cy="312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60000" y="113259"/>
            <a:ext cx="793487" cy="198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92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60000" y="682802"/>
            <a:ext cx="8410962" cy="198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292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360001" y="6044374"/>
            <a:ext cx="6859950" cy="361198"/>
            <a:chOff x="75" y="3927"/>
            <a:chExt cx="5385" cy="2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7"/>
              <a:ext cx="5385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923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62"/>
              <a:ext cx="5385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62722" indent="-562722" defTabSz="843276">
                <a:tabLst>
                  <a:tab pos="570049" algn="l"/>
                </a:tabLst>
              </a:pPr>
              <a:r>
                <a:rPr lang="en-GB" sz="923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509410"/>
            <a:ext cx="4389768" cy="416274"/>
            <a:chOff x="915" y="773"/>
            <a:chExt cx="2686" cy="25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73"/>
              <a:ext cx="2686" cy="25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292" b="1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sz="1292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07382" y="412839"/>
            <a:ext cx="725488" cy="984251"/>
            <a:chOff x="4936" y="176"/>
            <a:chExt cx="457" cy="620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699404" y="412839"/>
            <a:ext cx="1033464" cy="715963"/>
            <a:chOff x="4750" y="176"/>
            <a:chExt cx="651" cy="4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807554" y="412838"/>
            <a:ext cx="963405" cy="188962"/>
            <a:chOff x="7777370" y="285750"/>
            <a:chExt cx="963405" cy="188962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777370" y="285750"/>
              <a:ext cx="963405" cy="1889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144" rIns="0" bIns="9144">
              <a:spAutoFit/>
            </a:bodyPr>
            <a:lstStyle/>
            <a:p>
              <a:pPr algn="r"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0"/>
            </p:cNvCxnSpPr>
            <p:nvPr/>
          </p:nvCxnSpPr>
          <p:spPr bwMode="auto">
            <a:xfrm>
              <a:off x="7777370" y="285750"/>
              <a:ext cx="963405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777370" y="474712"/>
              <a:ext cx="963405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 bwMode="auto">
          <a:xfrm>
            <a:off x="7940533" y="412837"/>
            <a:ext cx="791958" cy="1306516"/>
            <a:chOff x="6655594" y="273840"/>
            <a:chExt cx="791957" cy="1306516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</p:grpSp>
      <p:grpSp>
        <p:nvGrpSpPr>
          <p:cNvPr id="64" name="McK Moon" hidden="1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2097088" y="3886200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5414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2" r:id="rId4"/>
    <p:sldLayoutId id="2147483713" r:id="rId5"/>
    <p:sldLayoutId id="2147483714" r:id="rId6"/>
  </p:sldLayoutIdLst>
  <p:hf sldNum="0" hdr="0" ftr="0" dt="0"/>
  <p:txStyles>
    <p:titleStyle>
      <a:lvl1pPr algn="l" defTabSz="843276" rtl="0" eaLnBrk="1" fontAlgn="base" hangingPunct="1">
        <a:spcBef>
          <a:spcPct val="0"/>
        </a:spcBef>
        <a:spcAft>
          <a:spcPct val="0"/>
        </a:spcAft>
        <a:tabLst>
          <a:tab pos="340899" algn="l"/>
        </a:tabLst>
        <a:defRPr sz="2031" b="1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2pPr>
      <a:lvl3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3pPr>
      <a:lvl4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4pPr>
      <a:lvl5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5pPr>
      <a:lvl6pPr marL="430609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6pPr>
      <a:lvl7pPr marL="861217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7pPr>
      <a:lvl8pPr marL="1291826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8pPr>
      <a:lvl9pPr marL="1722435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67058" indent="-165593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386871" indent="-211021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562722" indent="-175851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12195" indent="-140680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6pPr>
      <a:lvl7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7pPr>
      <a:lvl8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8pPr>
      <a:lvl9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30609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61217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91826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722435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53044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83653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3014261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444870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7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11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165304"/>
            <a:ext cx="139065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0034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43276"/>
            <a:endParaRPr lang="en-GB" sz="738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48595" y="2502725"/>
            <a:ext cx="1848263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54">
                <a:solidFill>
                  <a:srgbClr val="000000"/>
                </a:solidFill>
                <a:cs typeface="+mn-cs"/>
              </a:rPr>
              <a:t>Last Modified 27.03.2015 19:10 W. Europe Standard Time</a:t>
            </a:r>
            <a:endParaRPr lang="en-GB" sz="1477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47182" y="4720705"/>
            <a:ext cx="1651093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54">
                <a:solidFill>
                  <a:srgbClr val="000000"/>
                </a:solidFill>
                <a:cs typeface="+mn-cs"/>
              </a:rPr>
              <a:t>Printed 24.02.2015 08:23 W. Europe Standard Time</a:t>
            </a:r>
            <a:endParaRPr lang="en-GB" sz="1477">
              <a:solidFill>
                <a:srgbClr val="000000"/>
              </a:solidFill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98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GB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60000" y="338400"/>
            <a:ext cx="8410962" cy="312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60000" y="113259"/>
            <a:ext cx="793487" cy="198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92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60000" y="682802"/>
            <a:ext cx="8410962" cy="198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292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360001" y="6044374"/>
            <a:ext cx="6859950" cy="361198"/>
            <a:chOff x="75" y="3927"/>
            <a:chExt cx="5385" cy="2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7"/>
              <a:ext cx="5385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923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62"/>
              <a:ext cx="5385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62722" indent="-562722" defTabSz="843276">
                <a:tabLst>
                  <a:tab pos="570049" algn="l"/>
                </a:tabLst>
              </a:pPr>
              <a:r>
                <a:rPr lang="en-GB" sz="923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509410"/>
            <a:ext cx="4389768" cy="416274"/>
            <a:chOff x="915" y="773"/>
            <a:chExt cx="2686" cy="25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73"/>
              <a:ext cx="2686" cy="25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292" b="1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sz="1292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07382" y="412839"/>
            <a:ext cx="725488" cy="984251"/>
            <a:chOff x="4936" y="176"/>
            <a:chExt cx="457" cy="620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699404" y="412839"/>
            <a:ext cx="1033464" cy="715963"/>
            <a:chOff x="4750" y="176"/>
            <a:chExt cx="651" cy="4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807554" y="412838"/>
            <a:ext cx="963405" cy="188962"/>
            <a:chOff x="7777370" y="285750"/>
            <a:chExt cx="963405" cy="188962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777370" y="285750"/>
              <a:ext cx="963405" cy="1889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144" rIns="0" bIns="9144">
              <a:spAutoFit/>
            </a:bodyPr>
            <a:lstStyle/>
            <a:p>
              <a:pPr algn="r"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0"/>
            </p:cNvCxnSpPr>
            <p:nvPr/>
          </p:nvCxnSpPr>
          <p:spPr bwMode="auto">
            <a:xfrm>
              <a:off x="7777370" y="285750"/>
              <a:ext cx="963405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777370" y="474712"/>
              <a:ext cx="963405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 bwMode="auto">
          <a:xfrm>
            <a:off x="7940533" y="412837"/>
            <a:ext cx="791958" cy="1306516"/>
            <a:chOff x="6655594" y="273840"/>
            <a:chExt cx="791957" cy="1306516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</p:grpSp>
      <p:grpSp>
        <p:nvGrpSpPr>
          <p:cNvPr id="64" name="McK Moon" hidden="1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2097088" y="3886200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9068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</p:sldLayoutIdLst>
  <p:hf sldNum="0" hdr="0" ftr="0" dt="0"/>
  <p:txStyles>
    <p:titleStyle>
      <a:lvl1pPr algn="l" defTabSz="843276" rtl="0" eaLnBrk="1" fontAlgn="base" hangingPunct="1">
        <a:spcBef>
          <a:spcPct val="0"/>
        </a:spcBef>
        <a:spcAft>
          <a:spcPct val="0"/>
        </a:spcAft>
        <a:tabLst>
          <a:tab pos="340899" algn="l"/>
        </a:tabLst>
        <a:defRPr sz="2031" b="1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2pPr>
      <a:lvl3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3pPr>
      <a:lvl4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4pPr>
      <a:lvl5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5pPr>
      <a:lvl6pPr marL="430609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6pPr>
      <a:lvl7pPr marL="861217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7pPr>
      <a:lvl8pPr marL="1291826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8pPr>
      <a:lvl9pPr marL="1722435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67058" indent="-165593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386871" indent="-211021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562722" indent="-175851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12195" indent="-140680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6pPr>
      <a:lvl7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7pPr>
      <a:lvl8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8pPr>
      <a:lvl9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30609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61217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91826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722435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53044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83653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3014261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444870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5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11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165304"/>
            <a:ext cx="139065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0034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43276"/>
            <a:endParaRPr lang="en-GB" sz="738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48595" y="2502725"/>
            <a:ext cx="1848263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54">
                <a:solidFill>
                  <a:srgbClr val="000000"/>
                </a:solidFill>
              </a:rPr>
              <a:t>Last Modified 28.01.2015 18:43 W. Europe Standard Time</a:t>
            </a:r>
            <a:endParaRPr lang="en-GB" sz="1477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47182" y="4720705"/>
            <a:ext cx="1651093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54">
                <a:solidFill>
                  <a:srgbClr val="000000"/>
                </a:solidFill>
              </a:rPr>
              <a:t>Printed 28.01.2015 11:48 W. Europe Standard Time</a:t>
            </a:r>
            <a:endParaRPr lang="en-GB" sz="1477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994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60000" y="338400"/>
            <a:ext cx="8410962" cy="312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60000" y="113259"/>
            <a:ext cx="793487" cy="198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92" dirty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60000" y="682802"/>
            <a:ext cx="8410962" cy="198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292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360001" y="6044374"/>
            <a:ext cx="6859950" cy="361198"/>
            <a:chOff x="75" y="3927"/>
            <a:chExt cx="5385" cy="2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7"/>
              <a:ext cx="5385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923" dirty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62"/>
              <a:ext cx="5385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62722" indent="-562722" defTabSz="843276">
                <a:tabLst>
                  <a:tab pos="570049" algn="l"/>
                </a:tabLst>
              </a:pPr>
              <a:r>
                <a:rPr lang="en-GB" sz="923" dirty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509410"/>
            <a:ext cx="4389768" cy="416274"/>
            <a:chOff x="915" y="773"/>
            <a:chExt cx="2686" cy="25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73"/>
              <a:ext cx="2686" cy="25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292" b="1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sz="1292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07382" y="412839"/>
            <a:ext cx="725488" cy="984251"/>
            <a:chOff x="4936" y="176"/>
            <a:chExt cx="457" cy="620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699404" y="412839"/>
            <a:ext cx="1033464" cy="715963"/>
            <a:chOff x="4750" y="176"/>
            <a:chExt cx="651" cy="4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77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77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77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7" cy="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807554" y="412838"/>
            <a:ext cx="963405" cy="188962"/>
            <a:chOff x="7777370" y="285750"/>
            <a:chExt cx="963405" cy="188962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777370" y="285750"/>
              <a:ext cx="963405" cy="1889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144" rIns="0" bIns="9144">
              <a:spAutoFit/>
            </a:bodyPr>
            <a:lstStyle/>
            <a:p>
              <a:pPr algn="r"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PRELIMINARY</a:t>
              </a:r>
              <a:endParaRPr lang="en-GB" sz="1108" dirty="0">
                <a:solidFill>
                  <a:srgbClr val="000000"/>
                </a:solidFill>
                <a:latin typeface="Arial"/>
              </a:endParaRP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0"/>
            </p:cNvCxnSpPr>
            <p:nvPr/>
          </p:nvCxnSpPr>
          <p:spPr bwMode="auto">
            <a:xfrm>
              <a:off x="7777370" y="285750"/>
              <a:ext cx="963405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777370" y="474712"/>
              <a:ext cx="963405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 bwMode="auto">
          <a:xfrm>
            <a:off x="7940533" y="412837"/>
            <a:ext cx="791958" cy="1306516"/>
            <a:chOff x="6655594" y="273840"/>
            <a:chExt cx="791957" cy="1306516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  <a:endParaRPr lang="en-GB" sz="1108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  <a:endParaRPr lang="en-GB" sz="1108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  <a:endParaRPr lang="en-GB" sz="1108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71282" cy="170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26498">
                <a:buClr>
                  <a:srgbClr val="000000"/>
                </a:buClr>
              </a:pPr>
              <a:r>
                <a:rPr lang="en-GB" sz="1108">
                  <a:solidFill>
                    <a:srgbClr val="000000"/>
                  </a:solidFill>
                  <a:latin typeface="Arial"/>
                </a:rPr>
                <a:t>Legend</a:t>
              </a:r>
              <a:endParaRPr lang="en-GB" sz="1108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477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64" name="McK Mo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2097088" y="3886200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77">
                <a:solidFill>
                  <a:srgbClr val="000000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9007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</p:sldLayoutIdLst>
  <p:hf sldNum="0" hdr="0" ftr="0" dt="0"/>
  <p:txStyles>
    <p:titleStyle>
      <a:lvl1pPr algn="l" defTabSz="843276" rtl="0" eaLnBrk="1" fontAlgn="base" hangingPunct="1">
        <a:spcBef>
          <a:spcPct val="0"/>
        </a:spcBef>
        <a:spcAft>
          <a:spcPct val="0"/>
        </a:spcAft>
        <a:tabLst>
          <a:tab pos="340899" algn="l"/>
        </a:tabLst>
        <a:defRPr sz="2031" b="1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2pPr>
      <a:lvl3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3pPr>
      <a:lvl4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4pPr>
      <a:lvl5pPr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5pPr>
      <a:lvl6pPr marL="430609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6pPr>
      <a:lvl7pPr marL="861217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7pPr>
      <a:lvl8pPr marL="1291826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8pPr>
      <a:lvl9pPr marL="1722435" algn="l" defTabSz="843276" rtl="0" eaLnBrk="1" fontAlgn="base" hangingPunct="1">
        <a:spcBef>
          <a:spcPct val="0"/>
        </a:spcBef>
        <a:spcAft>
          <a:spcPct val="0"/>
        </a:spcAft>
        <a:defRPr sz="17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67058" indent="-165593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386871" indent="-211021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562722" indent="-175851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12195" indent="-140680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92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6pPr>
      <a:lvl7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7pPr>
      <a:lvl8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8pPr>
      <a:lvl9pPr marL="706198" indent="-122604" algn="l" defTabSz="8432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7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30609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61217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91826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722435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53044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83653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3014261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444870" algn="l" defTabSz="861217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39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11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6165304"/>
            <a:ext cx="1390650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00348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GB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74856" y="2499198"/>
            <a:ext cx="199573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</a:rPr>
              <a:t>Last Modified 28.01.2015 18:43 W. Europe Standard Time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82259" y="4717178"/>
            <a:ext cx="178093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</a:rPr>
              <a:t>Printed 28.01.2015 11:48 W. Europe Standard Time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60000" y="338400"/>
            <a:ext cx="841096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60000" y="113258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00" dirty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60000" y="682801"/>
            <a:ext cx="84109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40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360000" y="6033035"/>
            <a:ext cx="6859950" cy="372536"/>
            <a:chOff x="75" y="3920"/>
            <a:chExt cx="5385" cy="23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0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1000" dirty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09600" indent="-609600" defTabSz="913526">
                <a:tabLst>
                  <a:tab pos="617538" algn="l"/>
                </a:tabLst>
              </a:pPr>
              <a:r>
                <a:rPr lang="en-GB" sz="1000" dirty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477015"/>
            <a:ext cx="4389768" cy="448669"/>
            <a:chOff x="915" y="753"/>
            <a:chExt cx="2686" cy="27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53"/>
              <a:ext cx="2686" cy="27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400" b="1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sz="1400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07374" y="412837"/>
            <a:ext cx="763588" cy="996951"/>
            <a:chOff x="4936" y="176"/>
            <a:chExt cx="481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699399" y="412837"/>
            <a:ext cx="1071563" cy="730251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6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6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6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731768" y="412837"/>
            <a:ext cx="1039194" cy="203133"/>
            <a:chOff x="7701581" y="285750"/>
            <a:chExt cx="1039194" cy="203133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701581" y="285750"/>
              <a:ext cx="1039194" cy="2031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9144" rIns="0" bIns="9144">
              <a:spAutoFit/>
            </a:bodyPr>
            <a:lstStyle/>
            <a:p>
              <a:pPr algn="r"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</a:rPr>
                <a:t>PRELIMINARY</a:t>
              </a:r>
              <a:endParaRPr lang="en-GB" sz="1200" dirty="0">
                <a:solidFill>
                  <a:srgbClr val="000000"/>
                </a:solidFill>
                <a:latin typeface="Arial"/>
              </a:endParaRP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0"/>
            </p:cNvCxnSpPr>
            <p:nvPr/>
          </p:nvCxnSpPr>
          <p:spPr bwMode="auto">
            <a:xfrm>
              <a:off x="7701581" y="285750"/>
              <a:ext cx="1039194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701581" y="488883"/>
              <a:ext cx="1039194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 bwMode="auto">
          <a:xfrm>
            <a:off x="7940532" y="412837"/>
            <a:ext cx="830430" cy="1306516"/>
            <a:chOff x="6655594" y="273840"/>
            <a:chExt cx="830430" cy="1306516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</a:rPr>
                <a:t>Legend</a:t>
              </a:r>
              <a:endParaRPr lang="en-GB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</a:rPr>
                <a:t>Legend</a:t>
              </a:r>
              <a:endParaRPr lang="en-GB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</a:rPr>
                <a:t>Legend</a:t>
              </a:r>
              <a:endParaRPr lang="en-GB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GB" sz="1200">
                  <a:solidFill>
                    <a:srgbClr val="000000"/>
                  </a:solidFill>
                  <a:latin typeface="Arial"/>
                </a:rPr>
                <a:t>Legend</a:t>
              </a:r>
              <a:endParaRPr lang="en-GB" sz="1200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64" name="McK Mo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2097088" y="3886200"/>
            <a:ext cx="254000" cy="254000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00">
                <a:solidFill>
                  <a:srgbClr val="000000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4793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9298" algn="l"/>
        </a:tabLst>
        <a:defRPr sz="2200" b="1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80975" indent="-17938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19100" indent="-22860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09600" indent="-19050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71525" indent="-15240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30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31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32.jp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3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4" Type="http://schemas.openxmlformats.org/officeDocument/2006/relationships/oleObject" Target="../embeddings/oleObject29.bin"/><Relationship Id="rId5" Type="http://schemas.openxmlformats.org/officeDocument/2006/relationships/image" Target="../media/image10.emf"/><Relationship Id="rId6" Type="http://schemas.openxmlformats.org/officeDocument/2006/relationships/image" Target="../media/image11.png"/><Relationship Id="rId7" Type="http://schemas.openxmlformats.org/officeDocument/2006/relationships/image" Target="../media/image12.png"/><Relationship Id="rId8" Type="http://schemas.openxmlformats.org/officeDocument/2006/relationships/image" Target="../media/image13.png"/><Relationship Id="rId9" Type="http://schemas.openxmlformats.org/officeDocument/2006/relationships/image" Target="../media/image14.png"/><Relationship Id="rId10" Type="http://schemas.openxmlformats.org/officeDocument/2006/relationships/image" Target="../media/image15.png"/><Relationship Id="rId11" Type="http://schemas.openxmlformats.org/officeDocument/2006/relationships/image" Target="../media/image16.png"/><Relationship Id="rId1" Type="http://schemas.openxmlformats.org/officeDocument/2006/relationships/vmlDrawing" Target="../drawings/vmlDrawing29.vml"/><Relationship Id="rId2" Type="http://schemas.openxmlformats.org/officeDocument/2006/relationships/tags" Target="../tags/tag2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4" Type="http://schemas.openxmlformats.org/officeDocument/2006/relationships/image" Target="../media/image19.png"/><Relationship Id="rId5" Type="http://schemas.openxmlformats.org/officeDocument/2006/relationships/image" Target="../media/image20.png"/><Relationship Id="rId6" Type="http://schemas.openxmlformats.org/officeDocument/2006/relationships/image" Target="../media/image21.jpeg"/><Relationship Id="rId7" Type="http://schemas.openxmlformats.org/officeDocument/2006/relationships/image" Target="../media/image22.png"/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4" Type="http://schemas.openxmlformats.org/officeDocument/2006/relationships/image" Target="../media/image25.png"/><Relationship Id="rId5" Type="http://schemas.openxmlformats.org/officeDocument/2006/relationships/image" Target="../media/image27.png"/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9.jpeg"/></Relationships>
</file>

<file path=ppt/slides/_rels/slide8.xml.rels><?xml version="1.0" encoding="UTF-8" standalone="yes"?>
<Relationships xmlns="http://schemas.openxmlformats.org/package/2006/relationships"><Relationship Id="rId46" Type="http://schemas.openxmlformats.org/officeDocument/2006/relationships/image" Target="../media/image25.png"/><Relationship Id="rId20" Type="http://schemas.openxmlformats.org/officeDocument/2006/relationships/tags" Target="../tags/tag244.xml"/><Relationship Id="rId21" Type="http://schemas.openxmlformats.org/officeDocument/2006/relationships/tags" Target="../tags/tag245.xml"/><Relationship Id="rId22" Type="http://schemas.openxmlformats.org/officeDocument/2006/relationships/tags" Target="../tags/tag246.xml"/><Relationship Id="rId23" Type="http://schemas.openxmlformats.org/officeDocument/2006/relationships/tags" Target="../tags/tag247.xml"/><Relationship Id="rId24" Type="http://schemas.openxmlformats.org/officeDocument/2006/relationships/tags" Target="../tags/tag248.xml"/><Relationship Id="rId25" Type="http://schemas.openxmlformats.org/officeDocument/2006/relationships/tags" Target="../tags/tag249.xml"/><Relationship Id="rId26" Type="http://schemas.openxmlformats.org/officeDocument/2006/relationships/tags" Target="../tags/tag250.xml"/><Relationship Id="rId27" Type="http://schemas.openxmlformats.org/officeDocument/2006/relationships/tags" Target="../tags/tag251.xml"/><Relationship Id="rId28" Type="http://schemas.openxmlformats.org/officeDocument/2006/relationships/tags" Target="../tags/tag252.xml"/><Relationship Id="rId29" Type="http://schemas.openxmlformats.org/officeDocument/2006/relationships/tags" Target="../tags/tag253.xml"/><Relationship Id="rId1" Type="http://schemas.openxmlformats.org/officeDocument/2006/relationships/tags" Target="../tags/tag225.xml"/><Relationship Id="rId2" Type="http://schemas.openxmlformats.org/officeDocument/2006/relationships/tags" Target="../tags/tag226.xml"/><Relationship Id="rId3" Type="http://schemas.openxmlformats.org/officeDocument/2006/relationships/tags" Target="../tags/tag227.xml"/><Relationship Id="rId4" Type="http://schemas.openxmlformats.org/officeDocument/2006/relationships/tags" Target="../tags/tag228.xml"/><Relationship Id="rId5" Type="http://schemas.openxmlformats.org/officeDocument/2006/relationships/tags" Target="../tags/tag229.xml"/><Relationship Id="rId30" Type="http://schemas.openxmlformats.org/officeDocument/2006/relationships/tags" Target="../tags/tag254.xml"/><Relationship Id="rId31" Type="http://schemas.openxmlformats.org/officeDocument/2006/relationships/tags" Target="../tags/tag255.xml"/><Relationship Id="rId32" Type="http://schemas.openxmlformats.org/officeDocument/2006/relationships/tags" Target="../tags/tag256.xml"/><Relationship Id="rId9" Type="http://schemas.openxmlformats.org/officeDocument/2006/relationships/tags" Target="../tags/tag233.xml"/><Relationship Id="rId6" Type="http://schemas.openxmlformats.org/officeDocument/2006/relationships/tags" Target="../tags/tag230.xml"/><Relationship Id="rId7" Type="http://schemas.openxmlformats.org/officeDocument/2006/relationships/tags" Target="../tags/tag231.xml"/><Relationship Id="rId8" Type="http://schemas.openxmlformats.org/officeDocument/2006/relationships/tags" Target="../tags/tag232.xml"/><Relationship Id="rId33" Type="http://schemas.openxmlformats.org/officeDocument/2006/relationships/tags" Target="../tags/tag257.xml"/><Relationship Id="rId34" Type="http://schemas.openxmlformats.org/officeDocument/2006/relationships/tags" Target="../tags/tag258.xml"/><Relationship Id="rId35" Type="http://schemas.openxmlformats.org/officeDocument/2006/relationships/tags" Target="../tags/tag259.xml"/><Relationship Id="rId36" Type="http://schemas.openxmlformats.org/officeDocument/2006/relationships/tags" Target="../tags/tag260.xml"/><Relationship Id="rId10" Type="http://schemas.openxmlformats.org/officeDocument/2006/relationships/tags" Target="../tags/tag234.xml"/><Relationship Id="rId11" Type="http://schemas.openxmlformats.org/officeDocument/2006/relationships/tags" Target="../tags/tag235.xml"/><Relationship Id="rId12" Type="http://schemas.openxmlformats.org/officeDocument/2006/relationships/tags" Target="../tags/tag236.xml"/><Relationship Id="rId13" Type="http://schemas.openxmlformats.org/officeDocument/2006/relationships/tags" Target="../tags/tag237.xml"/><Relationship Id="rId14" Type="http://schemas.openxmlformats.org/officeDocument/2006/relationships/tags" Target="../tags/tag238.xml"/><Relationship Id="rId15" Type="http://schemas.openxmlformats.org/officeDocument/2006/relationships/tags" Target="../tags/tag239.xml"/><Relationship Id="rId16" Type="http://schemas.openxmlformats.org/officeDocument/2006/relationships/tags" Target="../tags/tag240.xml"/><Relationship Id="rId17" Type="http://schemas.openxmlformats.org/officeDocument/2006/relationships/tags" Target="../tags/tag241.xml"/><Relationship Id="rId18" Type="http://schemas.openxmlformats.org/officeDocument/2006/relationships/tags" Target="../tags/tag242.xml"/><Relationship Id="rId19" Type="http://schemas.openxmlformats.org/officeDocument/2006/relationships/tags" Target="../tags/tag243.xml"/><Relationship Id="rId37" Type="http://schemas.openxmlformats.org/officeDocument/2006/relationships/tags" Target="../tags/tag261.xml"/><Relationship Id="rId38" Type="http://schemas.openxmlformats.org/officeDocument/2006/relationships/tags" Target="../tags/tag262.xml"/><Relationship Id="rId39" Type="http://schemas.openxmlformats.org/officeDocument/2006/relationships/tags" Target="../tags/tag263.xml"/><Relationship Id="rId40" Type="http://schemas.openxmlformats.org/officeDocument/2006/relationships/tags" Target="../tags/tag264.xml"/><Relationship Id="rId41" Type="http://schemas.openxmlformats.org/officeDocument/2006/relationships/tags" Target="../tags/tag265.xml"/><Relationship Id="rId42" Type="http://schemas.openxmlformats.org/officeDocument/2006/relationships/tags" Target="../tags/tag266.xml"/><Relationship Id="rId43" Type="http://schemas.openxmlformats.org/officeDocument/2006/relationships/slideLayout" Target="../slideLayouts/slideLayout14.xml"/><Relationship Id="rId44" Type="http://schemas.openxmlformats.org/officeDocument/2006/relationships/notesSlide" Target="../notesSlides/notesSlide2.xml"/><Relationship Id="rId45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29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:\Users\sorhi\AppData\Local\Microsoft\Windows\INetCacheContent.Word\image3.jpg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925"/>
          <a:stretch/>
        </p:blipFill>
        <p:spPr bwMode="auto">
          <a:xfrm>
            <a:off x="0" y="-902"/>
            <a:ext cx="9144000" cy="576588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0994" y="1089526"/>
            <a:ext cx="8033978" cy="407988"/>
          </a:xfrm>
        </p:spPr>
        <p:txBody>
          <a:bodyPr/>
          <a:lstStyle/>
          <a:p>
            <a:r>
              <a:rPr lang="en-US" sz="2000" dirty="0"/>
              <a:t>Key learnings from pioneering offshore wind transmission</a:t>
            </a:r>
            <a:endParaRPr lang="en-GB" sz="20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994" y="107623"/>
            <a:ext cx="8322011" cy="900101"/>
          </a:xfrm>
        </p:spPr>
        <p:txBody>
          <a:bodyPr/>
          <a:lstStyle/>
          <a:p>
            <a:r>
              <a:rPr lang="en-GB" dirty="0"/>
              <a:t>Bringing Off-Shore Wind to New England's Shores</a:t>
            </a:r>
            <a:r>
              <a:rPr lang="da-DK" dirty="0"/>
              <a:t/>
            </a:r>
            <a:br>
              <a:rPr lang="da-DK" dirty="0"/>
            </a:b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79512" y="5989766"/>
            <a:ext cx="4752528" cy="276999"/>
          </a:xfrm>
        </p:spPr>
        <p:txBody>
          <a:bodyPr/>
          <a:lstStyle/>
          <a:p>
            <a:r>
              <a:rPr lang="en-GB" dirty="0"/>
              <a:t>Søren Hindbo, Head of Electrical System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79512" y="6291649"/>
            <a:ext cx="3119802" cy="276999"/>
          </a:xfrm>
        </p:spPr>
        <p:txBody>
          <a:bodyPr/>
          <a:lstStyle/>
          <a:p>
            <a:r>
              <a:rPr lang="en-US" dirty="0"/>
              <a:t>Friday, June 16, 20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07040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ack-up</a:t>
            </a:r>
          </a:p>
        </p:txBody>
      </p:sp>
    </p:spTree>
    <p:extLst>
      <p:ext uri="{BB962C8B-B14F-4D97-AF65-F5344CB8AC3E}">
        <p14:creationId xmlns:p14="http://schemas.microsoft.com/office/powerpoint/2010/main" val="35961997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29" y="0"/>
            <a:ext cx="9143998" cy="6858000"/>
          </a:xfr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0001" y="338400"/>
            <a:ext cx="8427248" cy="338554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World largest Variable Shunt Reactor; 120-300MVAr, 220kV</a:t>
            </a:r>
          </a:p>
        </p:txBody>
      </p:sp>
      <p:sp>
        <p:nvSpPr>
          <p:cNvPr id="2" name="Rectangle 1"/>
          <p:cNvSpPr/>
          <p:nvPr/>
        </p:nvSpPr>
        <p:spPr>
          <a:xfrm>
            <a:off x="467544" y="5949280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 err="1">
                <a:solidFill>
                  <a:schemeClr val="bg1"/>
                </a:solidFill>
              </a:rPr>
              <a:t>Hornsea</a:t>
            </a:r>
            <a:r>
              <a:rPr lang="en-GB" dirty="0">
                <a:solidFill>
                  <a:schemeClr val="bg1"/>
                </a:solidFill>
              </a:rPr>
              <a:t> 1, 1218 MW, HVAC 3OSS, 1RP, 1OnSS, 400/220/34 kV 142+38 km (WR)</a:t>
            </a:r>
          </a:p>
        </p:txBody>
      </p:sp>
    </p:spTree>
    <p:extLst>
      <p:ext uri="{BB962C8B-B14F-4D97-AF65-F5344CB8AC3E}">
        <p14:creationId xmlns:p14="http://schemas.microsoft.com/office/powerpoint/2010/main" val="40995040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" name="Picture 2" descr="C:\Users\sorhi\AppData\Local\Microsoft\Windows\INetCacheContent.Word\image4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3"/>
          <p:cNvSpPr/>
          <p:nvPr/>
        </p:nvSpPr>
        <p:spPr>
          <a:xfrm>
            <a:off x="251520" y="6021288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 err="1">
                <a:solidFill>
                  <a:schemeClr val="bg1"/>
                </a:solidFill>
              </a:rPr>
              <a:t>Walney</a:t>
            </a:r>
            <a:r>
              <a:rPr lang="en-GB" dirty="0">
                <a:solidFill>
                  <a:schemeClr val="bg1"/>
                </a:solidFill>
              </a:rPr>
              <a:t> 3+4 659 MW, HVAC, 2OSS, 1OnSS, 400/220/34 kV, 68+4 km (WR)</a:t>
            </a:r>
          </a:p>
        </p:txBody>
      </p:sp>
      <p:sp>
        <p:nvSpPr>
          <p:cNvPr id="5" name="Title 3"/>
          <p:cNvSpPr txBox="1">
            <a:spLocks/>
          </p:cNvSpPr>
          <p:nvPr/>
        </p:nvSpPr>
        <p:spPr bwMode="auto">
          <a:xfrm>
            <a:off x="251520" y="338400"/>
            <a:ext cx="8892480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9298" algn="l"/>
              </a:tabLst>
              <a:defRPr sz="2200" b="1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Longest power cable pull, 3.4km of cable within the intertidal zone</a:t>
            </a:r>
            <a:endParaRPr lang="en-GB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21353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860032" y="6021288"/>
            <a:ext cx="4572000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r>
              <a:rPr lang="en-GB" dirty="0"/>
              <a:t>Race Bank 573 MW, HVAC, 2OSS, 1OnSS, 400/220/34 kV 74+12 km </a:t>
            </a:r>
            <a:endParaRPr lang="da-DK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58376" y="116632"/>
            <a:ext cx="8427248" cy="338554"/>
          </a:xfrm>
        </p:spPr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Onshore substation, </a:t>
            </a:r>
            <a:r>
              <a:rPr lang="en-GB" dirty="0" err="1">
                <a:solidFill>
                  <a:schemeClr val="tx1"/>
                </a:solidFill>
              </a:rPr>
              <a:t>Racebank</a:t>
            </a:r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1333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97" r="9475"/>
          <a:stretch/>
        </p:blipFill>
        <p:spPr>
          <a:xfrm>
            <a:off x="-108520" y="0"/>
            <a:ext cx="9144000" cy="6957392"/>
          </a:xfr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GB" dirty="0">
                <a:solidFill>
                  <a:schemeClr val="tx1"/>
                </a:solidFill>
              </a:rPr>
              <a:t>Offshore substation</a:t>
            </a:r>
          </a:p>
        </p:txBody>
      </p:sp>
      <p:sp>
        <p:nvSpPr>
          <p:cNvPr id="6" name="Rectangle 5"/>
          <p:cNvSpPr/>
          <p:nvPr/>
        </p:nvSpPr>
        <p:spPr>
          <a:xfrm>
            <a:off x="251520" y="6021288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 err="1">
                <a:solidFill>
                  <a:schemeClr val="bg1"/>
                </a:solidFill>
              </a:rPr>
              <a:t>Walney</a:t>
            </a:r>
            <a:r>
              <a:rPr lang="en-GB" dirty="0">
                <a:solidFill>
                  <a:schemeClr val="bg1"/>
                </a:solidFill>
              </a:rPr>
              <a:t> 3+4 659 MW, HVAC, 2OSS, 1OnSS, 400/220/34 kV, 68+4 km (WR)</a:t>
            </a:r>
          </a:p>
        </p:txBody>
      </p:sp>
    </p:spTree>
    <p:extLst>
      <p:ext uri="{BB962C8B-B14F-4D97-AF65-F5344CB8AC3E}">
        <p14:creationId xmlns:p14="http://schemas.microsoft.com/office/powerpoint/2010/main" val="17337639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5" name="think-cell Slide" r:id="rId4" imgW="352" imgH="353" progId="TCLayout.ActiveDocument.1">
                  <p:embed/>
                </p:oleObj>
              </mc:Choice>
              <mc:Fallback>
                <p:oleObj name="think-cell Slide" r:id="rId4" imgW="352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265236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auto">
          <a:xfrm>
            <a:off x="331176" y="1450567"/>
            <a:ext cx="1853555" cy="1173390"/>
          </a:xfrm>
          <a:prstGeom prst="rect">
            <a:avLst/>
          </a:prstGeom>
          <a:noFill/>
          <a:ln w="9525">
            <a:solidFill>
              <a:srgbClr val="939680"/>
            </a:solidFill>
            <a:miter lim="800000"/>
            <a:headEnd/>
            <a:tailEnd/>
          </a:ln>
        </p:spPr>
        <p:txBody>
          <a:bodyPr lIns="66462" tIns="66462" rIns="66462" bIns="66462"/>
          <a:lstStyle/>
          <a:p>
            <a:pPr>
              <a:spcBef>
                <a:spcPts val="277"/>
              </a:spcBef>
              <a:spcAft>
                <a:spcPts val="277"/>
              </a:spcAft>
              <a:buSzPct val="80000"/>
            </a:pPr>
            <a:endParaRPr lang="en-GB" sz="923" b="1" dirty="0"/>
          </a:p>
        </p:txBody>
      </p:sp>
      <p:sp>
        <p:nvSpPr>
          <p:cNvPr id="7" name="Rectangle 6"/>
          <p:cNvSpPr/>
          <p:nvPr/>
        </p:nvSpPr>
        <p:spPr bwMode="auto">
          <a:xfrm>
            <a:off x="5915948" y="1424354"/>
            <a:ext cx="2843594" cy="4473846"/>
          </a:xfrm>
          <a:prstGeom prst="rect">
            <a:avLst/>
          </a:prstGeom>
          <a:noFill/>
          <a:ln w="9525">
            <a:solidFill>
              <a:srgbClr val="939680"/>
            </a:solidFill>
            <a:miter lim="800000"/>
            <a:headEnd/>
            <a:tailEnd/>
          </a:ln>
        </p:spPr>
        <p:txBody>
          <a:bodyPr lIns="66462" tIns="66462" rIns="66462" bIns="66462"/>
          <a:lstStyle/>
          <a:p>
            <a:pPr>
              <a:spcBef>
                <a:spcPts val="277"/>
              </a:spcBef>
              <a:spcAft>
                <a:spcPts val="277"/>
              </a:spcAft>
              <a:buSzPct val="80000"/>
            </a:pPr>
            <a:endParaRPr lang="en-GB" sz="923" b="1" dirty="0"/>
          </a:p>
        </p:txBody>
      </p:sp>
      <p:sp>
        <p:nvSpPr>
          <p:cNvPr id="8" name="Rectangle 7"/>
          <p:cNvSpPr/>
          <p:nvPr/>
        </p:nvSpPr>
        <p:spPr bwMode="auto">
          <a:xfrm>
            <a:off x="331176" y="1424354"/>
            <a:ext cx="5503734" cy="4473845"/>
          </a:xfrm>
          <a:prstGeom prst="rect">
            <a:avLst/>
          </a:prstGeom>
          <a:noFill/>
          <a:ln w="9525">
            <a:solidFill>
              <a:srgbClr val="939680"/>
            </a:solidFill>
            <a:miter lim="800000"/>
            <a:headEnd/>
            <a:tailEnd/>
          </a:ln>
        </p:spPr>
        <p:txBody>
          <a:bodyPr lIns="66462" tIns="66462" rIns="66462" bIns="66462"/>
          <a:lstStyle/>
          <a:p>
            <a:pPr>
              <a:spcBef>
                <a:spcPts val="277"/>
              </a:spcBef>
              <a:spcAft>
                <a:spcPts val="277"/>
              </a:spcAft>
              <a:buSzPct val="80000"/>
            </a:pPr>
            <a:endParaRPr lang="en-GB" sz="923" b="1" dirty="0"/>
          </a:p>
        </p:txBody>
      </p:sp>
      <p:sp>
        <p:nvSpPr>
          <p:cNvPr id="10" name="Rectangle 9"/>
          <p:cNvSpPr/>
          <p:nvPr/>
        </p:nvSpPr>
        <p:spPr>
          <a:xfrm>
            <a:off x="5915948" y="1334504"/>
            <a:ext cx="2843594" cy="16615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>
            <a:solidFill>
              <a:srgbClr val="5E7FA1"/>
            </a:solidFill>
            <a:miter lim="800000"/>
            <a:headEnd/>
            <a:tailEnd/>
          </a:ln>
        </p:spPr>
        <p:txBody>
          <a:bodyPr lIns="33231" tIns="66462" rIns="33231" bIns="66462" anchor="ctr" anchorCtr="0"/>
          <a:lstStyle/>
          <a:p>
            <a:pPr>
              <a:spcBef>
                <a:spcPts val="277"/>
              </a:spcBef>
              <a:buSzPct val="80000"/>
            </a:pPr>
            <a:r>
              <a:rPr lang="en-GB" sz="1015" b="1" dirty="0">
                <a:solidFill>
                  <a:prstClr val="white"/>
                </a:solidFill>
              </a:rPr>
              <a:t>Unparalleled experience and track record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536051" y="5279571"/>
            <a:ext cx="1241780" cy="576215"/>
            <a:chOff x="5238087" y="1817086"/>
            <a:chExt cx="1292020" cy="624233"/>
          </a:xfrm>
        </p:grpSpPr>
        <p:sp>
          <p:nvSpPr>
            <p:cNvPr id="12" name="Tekstboks 28"/>
            <p:cNvSpPr txBox="1">
              <a:spLocks noChangeArrowheads="1"/>
            </p:cNvSpPr>
            <p:nvPr/>
          </p:nvSpPr>
          <p:spPr bwMode="auto">
            <a:xfrm>
              <a:off x="5238087" y="2009249"/>
              <a:ext cx="1108293" cy="2230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738" b="1" dirty="0">
                  <a:solidFill>
                    <a:srgbClr val="000000"/>
                  </a:solidFill>
                </a:rPr>
                <a:t>Under construction</a:t>
              </a:r>
            </a:p>
          </p:txBody>
        </p:sp>
        <p:sp>
          <p:nvSpPr>
            <p:cNvPr id="13" name="Tekstboks 28"/>
            <p:cNvSpPr txBox="1">
              <a:spLocks noChangeArrowheads="1"/>
            </p:cNvSpPr>
            <p:nvPr/>
          </p:nvSpPr>
          <p:spPr bwMode="auto">
            <a:xfrm>
              <a:off x="5238087" y="1817086"/>
              <a:ext cx="797423" cy="2230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738" b="1" dirty="0">
                  <a:solidFill>
                    <a:srgbClr val="000000"/>
                  </a:solidFill>
                </a:rPr>
                <a:t>In operation</a:t>
              </a:r>
            </a:p>
          </p:txBody>
        </p:sp>
        <p:sp>
          <p:nvSpPr>
            <p:cNvPr id="14" name="Tekstboks 28"/>
            <p:cNvSpPr txBox="1">
              <a:spLocks noChangeArrowheads="1"/>
            </p:cNvSpPr>
            <p:nvPr/>
          </p:nvSpPr>
          <p:spPr bwMode="auto">
            <a:xfrm>
              <a:off x="5238168" y="2218272"/>
              <a:ext cx="1291939" cy="2230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738" b="1" dirty="0">
                  <a:solidFill>
                    <a:srgbClr val="000000"/>
                  </a:solidFill>
                </a:rPr>
                <a:t>Under development</a:t>
              </a:r>
            </a:p>
          </p:txBody>
        </p:sp>
      </p:grpSp>
      <p:pic>
        <p:nvPicPr>
          <p:cNvPr id="16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620" y="5661045"/>
            <a:ext cx="160280" cy="119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6" descr="M:\info\lped\- Grafisk Support\Generation\Powerpoint\- art\i_offshoreVin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877" y="5470454"/>
            <a:ext cx="157023" cy="118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620" y="5301693"/>
            <a:ext cx="160280" cy="119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Group 18"/>
          <p:cNvGrpSpPr/>
          <p:nvPr/>
        </p:nvGrpSpPr>
        <p:grpSpPr bwMode="gray">
          <a:xfrm>
            <a:off x="1380219" y="2369758"/>
            <a:ext cx="4451611" cy="3497525"/>
            <a:chOff x="454414" y="2574309"/>
            <a:chExt cx="4927833" cy="3414927"/>
          </a:xfrm>
          <a:solidFill>
            <a:schemeClr val="bg1">
              <a:lumMod val="85000"/>
            </a:schemeClr>
          </a:solidFill>
        </p:grpSpPr>
        <p:sp>
          <p:nvSpPr>
            <p:cNvPr id="20" name="Freeform 1556"/>
            <p:cNvSpPr>
              <a:spLocks/>
            </p:cNvSpPr>
            <p:nvPr/>
          </p:nvSpPr>
          <p:spPr bwMode="gray">
            <a:xfrm>
              <a:off x="905638" y="3726118"/>
              <a:ext cx="439354" cy="308734"/>
            </a:xfrm>
            <a:custGeom>
              <a:avLst/>
              <a:gdLst>
                <a:gd name="T0" fmla="*/ 22225 w 37"/>
                <a:gd name="T1" fmla="*/ 0 h 26"/>
                <a:gd name="T2" fmla="*/ 14288 w 37"/>
                <a:gd name="T3" fmla="*/ 6350 h 26"/>
                <a:gd name="T4" fmla="*/ 11113 w 37"/>
                <a:gd name="T5" fmla="*/ 11113 h 26"/>
                <a:gd name="T6" fmla="*/ 11113 w 37"/>
                <a:gd name="T7" fmla="*/ 11113 h 26"/>
                <a:gd name="T8" fmla="*/ 11113 w 37"/>
                <a:gd name="T9" fmla="*/ 14288 h 26"/>
                <a:gd name="T10" fmla="*/ 11113 w 37"/>
                <a:gd name="T11" fmla="*/ 19050 h 26"/>
                <a:gd name="T12" fmla="*/ 6350 w 37"/>
                <a:gd name="T13" fmla="*/ 19050 h 26"/>
                <a:gd name="T14" fmla="*/ 3175 w 37"/>
                <a:gd name="T15" fmla="*/ 22225 h 26"/>
                <a:gd name="T16" fmla="*/ 0 w 37"/>
                <a:gd name="T17" fmla="*/ 22225 h 26"/>
                <a:gd name="T18" fmla="*/ 0 w 37"/>
                <a:gd name="T19" fmla="*/ 22225 h 26"/>
                <a:gd name="T20" fmla="*/ 3175 w 37"/>
                <a:gd name="T21" fmla="*/ 25400 h 26"/>
                <a:gd name="T22" fmla="*/ 3175 w 37"/>
                <a:gd name="T23" fmla="*/ 30163 h 26"/>
                <a:gd name="T24" fmla="*/ 3175 w 37"/>
                <a:gd name="T25" fmla="*/ 30163 h 26"/>
                <a:gd name="T26" fmla="*/ 3175 w 37"/>
                <a:gd name="T27" fmla="*/ 30163 h 26"/>
                <a:gd name="T28" fmla="*/ 6350 w 37"/>
                <a:gd name="T29" fmla="*/ 30163 h 26"/>
                <a:gd name="T30" fmla="*/ 11113 w 37"/>
                <a:gd name="T31" fmla="*/ 33338 h 26"/>
                <a:gd name="T32" fmla="*/ 11113 w 37"/>
                <a:gd name="T33" fmla="*/ 33338 h 26"/>
                <a:gd name="T34" fmla="*/ 11113 w 37"/>
                <a:gd name="T35" fmla="*/ 41275 h 26"/>
                <a:gd name="T36" fmla="*/ 14288 w 37"/>
                <a:gd name="T37" fmla="*/ 41275 h 26"/>
                <a:gd name="T38" fmla="*/ 17463 w 37"/>
                <a:gd name="T39" fmla="*/ 36513 h 26"/>
                <a:gd name="T40" fmla="*/ 22225 w 37"/>
                <a:gd name="T41" fmla="*/ 36513 h 26"/>
                <a:gd name="T42" fmla="*/ 41275 w 37"/>
                <a:gd name="T43" fmla="*/ 41275 h 26"/>
                <a:gd name="T44" fmla="*/ 44450 w 37"/>
                <a:gd name="T45" fmla="*/ 33338 h 26"/>
                <a:gd name="T46" fmla="*/ 58738 w 37"/>
                <a:gd name="T47" fmla="*/ 33338 h 26"/>
                <a:gd name="T48" fmla="*/ 58738 w 37"/>
                <a:gd name="T49" fmla="*/ 30163 h 26"/>
                <a:gd name="T50" fmla="*/ 52388 w 37"/>
                <a:gd name="T51" fmla="*/ 30163 h 26"/>
                <a:gd name="T52" fmla="*/ 52388 w 37"/>
                <a:gd name="T53" fmla="*/ 14288 h 26"/>
                <a:gd name="T54" fmla="*/ 47625 w 37"/>
                <a:gd name="T55" fmla="*/ 11113 h 26"/>
                <a:gd name="T56" fmla="*/ 52388 w 37"/>
                <a:gd name="T57" fmla="*/ 3175 h 26"/>
                <a:gd name="T58" fmla="*/ 47625 w 37"/>
                <a:gd name="T59" fmla="*/ 0 h 26"/>
                <a:gd name="T60" fmla="*/ 47625 w 37"/>
                <a:gd name="T61" fmla="*/ 0 h 26"/>
                <a:gd name="T62" fmla="*/ 41275 w 37"/>
                <a:gd name="T63" fmla="*/ 0 h 26"/>
                <a:gd name="T64" fmla="*/ 33338 w 37"/>
                <a:gd name="T65" fmla="*/ 0 h 26"/>
                <a:gd name="T66" fmla="*/ 22225 w 37"/>
                <a:gd name="T67" fmla="*/ 6350 h 26"/>
                <a:gd name="T68" fmla="*/ 22225 w 37"/>
                <a:gd name="T69" fmla="*/ 6350 h 26"/>
                <a:gd name="T70" fmla="*/ 25400 w 37"/>
                <a:gd name="T71" fmla="*/ 0 h 26"/>
                <a:gd name="T72" fmla="*/ 25400 w 37"/>
                <a:gd name="T73" fmla="*/ 0 h 26"/>
                <a:gd name="T74" fmla="*/ 25400 w 37"/>
                <a:gd name="T75" fmla="*/ 0 h 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7"/>
                <a:gd name="T115" fmla="*/ 0 h 26"/>
                <a:gd name="T116" fmla="*/ 37 w 37"/>
                <a:gd name="T117" fmla="*/ 26 h 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7" h="26">
                  <a:moveTo>
                    <a:pt x="16" y="0"/>
                  </a:moveTo>
                  <a:lnTo>
                    <a:pt x="14" y="0"/>
                  </a:lnTo>
                  <a:lnTo>
                    <a:pt x="11" y="2"/>
                  </a:lnTo>
                  <a:lnTo>
                    <a:pt x="9" y="4"/>
                  </a:lnTo>
                  <a:lnTo>
                    <a:pt x="7" y="4"/>
                  </a:lnTo>
                  <a:lnTo>
                    <a:pt x="7" y="7"/>
                  </a:lnTo>
                  <a:lnTo>
                    <a:pt x="7" y="9"/>
                  </a:lnTo>
                  <a:lnTo>
                    <a:pt x="7" y="12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9"/>
                  </a:lnTo>
                  <a:lnTo>
                    <a:pt x="4" y="19"/>
                  </a:lnTo>
                  <a:lnTo>
                    <a:pt x="7" y="21"/>
                  </a:lnTo>
                  <a:lnTo>
                    <a:pt x="7" y="23"/>
                  </a:lnTo>
                  <a:lnTo>
                    <a:pt x="7" y="26"/>
                  </a:lnTo>
                  <a:lnTo>
                    <a:pt x="9" y="26"/>
                  </a:lnTo>
                  <a:lnTo>
                    <a:pt x="11" y="23"/>
                  </a:lnTo>
                  <a:lnTo>
                    <a:pt x="14" y="23"/>
                  </a:lnTo>
                  <a:lnTo>
                    <a:pt x="16" y="26"/>
                  </a:lnTo>
                  <a:lnTo>
                    <a:pt x="26" y="26"/>
                  </a:lnTo>
                  <a:lnTo>
                    <a:pt x="26" y="23"/>
                  </a:lnTo>
                  <a:lnTo>
                    <a:pt x="28" y="21"/>
                  </a:lnTo>
                  <a:lnTo>
                    <a:pt x="33" y="21"/>
                  </a:lnTo>
                  <a:lnTo>
                    <a:pt x="37" y="21"/>
                  </a:lnTo>
                  <a:lnTo>
                    <a:pt x="37" y="19"/>
                  </a:lnTo>
                  <a:lnTo>
                    <a:pt x="35" y="19"/>
                  </a:lnTo>
                  <a:lnTo>
                    <a:pt x="33" y="19"/>
                  </a:lnTo>
                  <a:lnTo>
                    <a:pt x="33" y="14"/>
                  </a:lnTo>
                  <a:lnTo>
                    <a:pt x="33" y="9"/>
                  </a:lnTo>
                  <a:lnTo>
                    <a:pt x="28" y="9"/>
                  </a:lnTo>
                  <a:lnTo>
                    <a:pt x="30" y="7"/>
                  </a:lnTo>
                  <a:lnTo>
                    <a:pt x="30" y="2"/>
                  </a:lnTo>
                  <a:lnTo>
                    <a:pt x="33" y="2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19" y="2"/>
                  </a:lnTo>
                  <a:lnTo>
                    <a:pt x="14" y="4"/>
                  </a:lnTo>
                  <a:lnTo>
                    <a:pt x="11" y="7"/>
                  </a:lnTo>
                  <a:lnTo>
                    <a:pt x="14" y="4"/>
                  </a:lnTo>
                  <a:lnTo>
                    <a:pt x="16" y="2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latin typeface="Arial" charset="0"/>
              </a:endParaRPr>
            </a:p>
          </p:txBody>
        </p:sp>
        <p:sp>
          <p:nvSpPr>
            <p:cNvPr id="21" name="Freeform 1557"/>
            <p:cNvSpPr>
              <a:spLocks/>
            </p:cNvSpPr>
            <p:nvPr/>
          </p:nvSpPr>
          <p:spPr bwMode="gray">
            <a:xfrm>
              <a:off x="1238119" y="3381765"/>
              <a:ext cx="59375" cy="118743"/>
            </a:xfrm>
            <a:custGeom>
              <a:avLst/>
              <a:gdLst>
                <a:gd name="T0" fmla="*/ 3175 w 5"/>
                <a:gd name="T1" fmla="*/ 4763 h 10"/>
                <a:gd name="T2" fmla="*/ 3175 w 5"/>
                <a:gd name="T3" fmla="*/ 4763 h 10"/>
                <a:gd name="T4" fmla="*/ 0 w 5"/>
                <a:gd name="T5" fmla="*/ 12700 h 10"/>
                <a:gd name="T6" fmla="*/ 0 w 5"/>
                <a:gd name="T7" fmla="*/ 12700 h 10"/>
                <a:gd name="T8" fmla="*/ 0 w 5"/>
                <a:gd name="T9" fmla="*/ 15875 h 10"/>
                <a:gd name="T10" fmla="*/ 3175 w 5"/>
                <a:gd name="T11" fmla="*/ 15875 h 10"/>
                <a:gd name="T12" fmla="*/ 3175 w 5"/>
                <a:gd name="T13" fmla="*/ 15875 h 10"/>
                <a:gd name="T14" fmla="*/ 3175 w 5"/>
                <a:gd name="T15" fmla="*/ 15875 h 10"/>
                <a:gd name="T16" fmla="*/ 3175 w 5"/>
                <a:gd name="T17" fmla="*/ 15875 h 10"/>
                <a:gd name="T18" fmla="*/ 3175 w 5"/>
                <a:gd name="T19" fmla="*/ 12700 h 10"/>
                <a:gd name="T20" fmla="*/ 7938 w 5"/>
                <a:gd name="T21" fmla="*/ 7938 h 10"/>
                <a:gd name="T22" fmla="*/ 7938 w 5"/>
                <a:gd name="T23" fmla="*/ 4763 h 10"/>
                <a:gd name="T24" fmla="*/ 7938 w 5"/>
                <a:gd name="T25" fmla="*/ 0 h 10"/>
                <a:gd name="T26" fmla="*/ 7938 w 5"/>
                <a:gd name="T27" fmla="*/ 0 h 10"/>
                <a:gd name="T28" fmla="*/ 7938 w 5"/>
                <a:gd name="T29" fmla="*/ 0 h 10"/>
                <a:gd name="T30" fmla="*/ 3175 w 5"/>
                <a:gd name="T31" fmla="*/ 0 h 10"/>
                <a:gd name="T32" fmla="*/ 3175 w 5"/>
                <a:gd name="T33" fmla="*/ 4763 h 10"/>
                <a:gd name="T34" fmla="*/ 3175 w 5"/>
                <a:gd name="T35" fmla="*/ 4763 h 10"/>
                <a:gd name="T36" fmla="*/ 3175 w 5"/>
                <a:gd name="T37" fmla="*/ 4763 h 10"/>
                <a:gd name="T38" fmla="*/ 3175 w 5"/>
                <a:gd name="T39" fmla="*/ 4763 h 1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"/>
                <a:gd name="T61" fmla="*/ 0 h 10"/>
                <a:gd name="T62" fmla="*/ 5 w 5"/>
                <a:gd name="T63" fmla="*/ 10 h 1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" h="10">
                  <a:moveTo>
                    <a:pt x="2" y="3"/>
                  </a:moveTo>
                  <a:lnTo>
                    <a:pt x="2" y="3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8"/>
                  </a:lnTo>
                  <a:lnTo>
                    <a:pt x="5" y="5"/>
                  </a:lnTo>
                  <a:lnTo>
                    <a:pt x="5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latin typeface="Arial" charset="0"/>
              </a:endParaRPr>
            </a:p>
          </p:txBody>
        </p:sp>
        <p:sp>
          <p:nvSpPr>
            <p:cNvPr id="22" name="Freeform 1558"/>
            <p:cNvSpPr>
              <a:spLocks/>
            </p:cNvSpPr>
            <p:nvPr/>
          </p:nvSpPr>
          <p:spPr bwMode="gray">
            <a:xfrm>
              <a:off x="1178744" y="3298641"/>
              <a:ext cx="83124" cy="118743"/>
            </a:xfrm>
            <a:custGeom>
              <a:avLst/>
              <a:gdLst>
                <a:gd name="T0" fmla="*/ 0 w 7"/>
                <a:gd name="T1" fmla="*/ 0 h 10"/>
                <a:gd name="T2" fmla="*/ 0 w 7"/>
                <a:gd name="T3" fmla="*/ 0 h 10"/>
                <a:gd name="T4" fmla="*/ 0 w 7"/>
                <a:gd name="T5" fmla="*/ 7938 h 10"/>
                <a:gd name="T6" fmla="*/ 0 w 7"/>
                <a:gd name="T7" fmla="*/ 7938 h 10"/>
                <a:gd name="T8" fmla="*/ 0 w 7"/>
                <a:gd name="T9" fmla="*/ 11113 h 10"/>
                <a:gd name="T10" fmla="*/ 4763 w 7"/>
                <a:gd name="T11" fmla="*/ 11113 h 10"/>
                <a:gd name="T12" fmla="*/ 4763 w 7"/>
                <a:gd name="T13" fmla="*/ 15875 h 10"/>
                <a:gd name="T14" fmla="*/ 7938 w 7"/>
                <a:gd name="T15" fmla="*/ 15875 h 10"/>
                <a:gd name="T16" fmla="*/ 7938 w 7"/>
                <a:gd name="T17" fmla="*/ 15875 h 10"/>
                <a:gd name="T18" fmla="*/ 7938 w 7"/>
                <a:gd name="T19" fmla="*/ 15875 h 10"/>
                <a:gd name="T20" fmla="*/ 11113 w 7"/>
                <a:gd name="T21" fmla="*/ 11113 h 10"/>
                <a:gd name="T22" fmla="*/ 11113 w 7"/>
                <a:gd name="T23" fmla="*/ 11113 h 10"/>
                <a:gd name="T24" fmla="*/ 11113 w 7"/>
                <a:gd name="T25" fmla="*/ 11113 h 10"/>
                <a:gd name="T26" fmla="*/ 11113 w 7"/>
                <a:gd name="T27" fmla="*/ 11113 h 10"/>
                <a:gd name="T28" fmla="*/ 11113 w 7"/>
                <a:gd name="T29" fmla="*/ 7938 h 10"/>
                <a:gd name="T30" fmla="*/ 11113 w 7"/>
                <a:gd name="T31" fmla="*/ 7938 h 10"/>
                <a:gd name="T32" fmla="*/ 7938 w 7"/>
                <a:gd name="T33" fmla="*/ 4763 h 10"/>
                <a:gd name="T34" fmla="*/ 4763 w 7"/>
                <a:gd name="T35" fmla="*/ 0 h 10"/>
                <a:gd name="T36" fmla="*/ 0 w 7"/>
                <a:gd name="T37" fmla="*/ 0 h 10"/>
                <a:gd name="T38" fmla="*/ 0 w 7"/>
                <a:gd name="T39" fmla="*/ 0 h 10"/>
                <a:gd name="T40" fmla="*/ 0 w 7"/>
                <a:gd name="T41" fmla="*/ 0 h 10"/>
                <a:gd name="T42" fmla="*/ 0 w 7"/>
                <a:gd name="T43" fmla="*/ 0 h 1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7"/>
                <a:gd name="T67" fmla="*/ 0 h 10"/>
                <a:gd name="T68" fmla="*/ 7 w 7"/>
                <a:gd name="T69" fmla="*/ 10 h 1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7" h="10">
                  <a:moveTo>
                    <a:pt x="0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0" y="7"/>
                  </a:lnTo>
                  <a:lnTo>
                    <a:pt x="3" y="7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7" y="7"/>
                  </a:lnTo>
                  <a:lnTo>
                    <a:pt x="7" y="5"/>
                  </a:lnTo>
                  <a:lnTo>
                    <a:pt x="5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latin typeface="Arial" charset="0"/>
              </a:endParaRPr>
            </a:p>
          </p:txBody>
        </p:sp>
        <p:sp>
          <p:nvSpPr>
            <p:cNvPr id="23" name="Freeform 1559"/>
            <p:cNvSpPr>
              <a:spLocks/>
            </p:cNvSpPr>
            <p:nvPr/>
          </p:nvSpPr>
          <p:spPr bwMode="gray">
            <a:xfrm>
              <a:off x="929387" y="2989908"/>
              <a:ext cx="83124" cy="59376"/>
            </a:xfrm>
            <a:custGeom>
              <a:avLst/>
              <a:gdLst>
                <a:gd name="T0" fmla="*/ 3175 w 7"/>
                <a:gd name="T1" fmla="*/ 0 h 5"/>
                <a:gd name="T2" fmla="*/ 0 w 7"/>
                <a:gd name="T3" fmla="*/ 4763 h 5"/>
                <a:gd name="T4" fmla="*/ 0 w 7"/>
                <a:gd name="T5" fmla="*/ 4763 h 5"/>
                <a:gd name="T6" fmla="*/ 0 w 7"/>
                <a:gd name="T7" fmla="*/ 4763 h 5"/>
                <a:gd name="T8" fmla="*/ 3175 w 7"/>
                <a:gd name="T9" fmla="*/ 4763 h 5"/>
                <a:gd name="T10" fmla="*/ 7938 w 7"/>
                <a:gd name="T11" fmla="*/ 7938 h 5"/>
                <a:gd name="T12" fmla="*/ 7938 w 7"/>
                <a:gd name="T13" fmla="*/ 7938 h 5"/>
                <a:gd name="T14" fmla="*/ 7938 w 7"/>
                <a:gd name="T15" fmla="*/ 7938 h 5"/>
                <a:gd name="T16" fmla="*/ 11113 w 7"/>
                <a:gd name="T17" fmla="*/ 4763 h 5"/>
                <a:gd name="T18" fmla="*/ 11113 w 7"/>
                <a:gd name="T19" fmla="*/ 4763 h 5"/>
                <a:gd name="T20" fmla="*/ 11113 w 7"/>
                <a:gd name="T21" fmla="*/ 0 h 5"/>
                <a:gd name="T22" fmla="*/ 7938 w 7"/>
                <a:gd name="T23" fmla="*/ 0 h 5"/>
                <a:gd name="T24" fmla="*/ 3175 w 7"/>
                <a:gd name="T25" fmla="*/ 0 h 5"/>
                <a:gd name="T26" fmla="*/ 3175 w 7"/>
                <a:gd name="T27" fmla="*/ 0 h 5"/>
                <a:gd name="T28" fmla="*/ 3175 w 7"/>
                <a:gd name="T29" fmla="*/ 0 h 5"/>
                <a:gd name="T30" fmla="*/ 3175 w 7"/>
                <a:gd name="T31" fmla="*/ 0 h 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7"/>
                <a:gd name="T49" fmla="*/ 0 h 5"/>
                <a:gd name="T50" fmla="*/ 7 w 7"/>
                <a:gd name="T51" fmla="*/ 5 h 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7" h="5">
                  <a:moveTo>
                    <a:pt x="2" y="0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5" y="5"/>
                  </a:lnTo>
                  <a:lnTo>
                    <a:pt x="7" y="3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latin typeface="Arial" charset="0"/>
              </a:endParaRPr>
            </a:p>
          </p:txBody>
        </p:sp>
        <p:sp>
          <p:nvSpPr>
            <p:cNvPr id="24" name="Freeform 1560"/>
            <p:cNvSpPr>
              <a:spLocks/>
            </p:cNvSpPr>
            <p:nvPr/>
          </p:nvSpPr>
          <p:spPr bwMode="gray">
            <a:xfrm>
              <a:off x="1131247" y="2942410"/>
              <a:ext cx="166241" cy="225617"/>
            </a:xfrm>
            <a:custGeom>
              <a:avLst/>
              <a:gdLst>
                <a:gd name="T0" fmla="*/ 6350 w 14"/>
                <a:gd name="T1" fmla="*/ 0 h 19"/>
                <a:gd name="T2" fmla="*/ 3175 w 14"/>
                <a:gd name="T3" fmla="*/ 6350 h 19"/>
                <a:gd name="T4" fmla="*/ 0 w 14"/>
                <a:gd name="T5" fmla="*/ 11113 h 19"/>
                <a:gd name="T6" fmla="*/ 0 w 14"/>
                <a:gd name="T7" fmla="*/ 11113 h 19"/>
                <a:gd name="T8" fmla="*/ 3175 w 14"/>
                <a:gd name="T9" fmla="*/ 14288 h 19"/>
                <a:gd name="T10" fmla="*/ 3175 w 14"/>
                <a:gd name="T11" fmla="*/ 14288 h 19"/>
                <a:gd name="T12" fmla="*/ 3175 w 14"/>
                <a:gd name="T13" fmla="*/ 17463 h 19"/>
                <a:gd name="T14" fmla="*/ 6350 w 14"/>
                <a:gd name="T15" fmla="*/ 22225 h 19"/>
                <a:gd name="T16" fmla="*/ 6350 w 14"/>
                <a:gd name="T17" fmla="*/ 25400 h 19"/>
                <a:gd name="T18" fmla="*/ 11113 w 14"/>
                <a:gd name="T19" fmla="*/ 30163 h 19"/>
                <a:gd name="T20" fmla="*/ 17463 w 14"/>
                <a:gd name="T21" fmla="*/ 30163 h 19"/>
                <a:gd name="T22" fmla="*/ 17463 w 14"/>
                <a:gd name="T23" fmla="*/ 30163 h 19"/>
                <a:gd name="T24" fmla="*/ 22225 w 14"/>
                <a:gd name="T25" fmla="*/ 30163 h 19"/>
                <a:gd name="T26" fmla="*/ 22225 w 14"/>
                <a:gd name="T27" fmla="*/ 25400 h 19"/>
                <a:gd name="T28" fmla="*/ 22225 w 14"/>
                <a:gd name="T29" fmla="*/ 25400 h 19"/>
                <a:gd name="T30" fmla="*/ 22225 w 14"/>
                <a:gd name="T31" fmla="*/ 25400 h 19"/>
                <a:gd name="T32" fmla="*/ 17463 w 14"/>
                <a:gd name="T33" fmla="*/ 22225 h 19"/>
                <a:gd name="T34" fmla="*/ 11113 w 14"/>
                <a:gd name="T35" fmla="*/ 22225 h 19"/>
                <a:gd name="T36" fmla="*/ 11113 w 14"/>
                <a:gd name="T37" fmla="*/ 17463 h 19"/>
                <a:gd name="T38" fmla="*/ 6350 w 14"/>
                <a:gd name="T39" fmla="*/ 11113 h 19"/>
                <a:gd name="T40" fmla="*/ 6350 w 14"/>
                <a:gd name="T41" fmla="*/ 3175 h 19"/>
                <a:gd name="T42" fmla="*/ 6350 w 14"/>
                <a:gd name="T43" fmla="*/ 0 h 19"/>
                <a:gd name="T44" fmla="*/ 6350 w 14"/>
                <a:gd name="T45" fmla="*/ 0 h 19"/>
                <a:gd name="T46" fmla="*/ 6350 w 14"/>
                <a:gd name="T47" fmla="*/ 0 h 19"/>
                <a:gd name="T48" fmla="*/ 6350 w 14"/>
                <a:gd name="T49" fmla="*/ 0 h 1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4"/>
                <a:gd name="T76" fmla="*/ 0 h 19"/>
                <a:gd name="T77" fmla="*/ 14 w 14"/>
                <a:gd name="T78" fmla="*/ 19 h 1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4" h="19">
                  <a:moveTo>
                    <a:pt x="4" y="0"/>
                  </a:moveTo>
                  <a:lnTo>
                    <a:pt x="2" y="4"/>
                  </a:lnTo>
                  <a:lnTo>
                    <a:pt x="0" y="7"/>
                  </a:lnTo>
                  <a:lnTo>
                    <a:pt x="2" y="9"/>
                  </a:lnTo>
                  <a:lnTo>
                    <a:pt x="2" y="11"/>
                  </a:lnTo>
                  <a:lnTo>
                    <a:pt x="4" y="14"/>
                  </a:lnTo>
                  <a:lnTo>
                    <a:pt x="4" y="16"/>
                  </a:lnTo>
                  <a:lnTo>
                    <a:pt x="7" y="19"/>
                  </a:lnTo>
                  <a:lnTo>
                    <a:pt x="11" y="19"/>
                  </a:lnTo>
                  <a:lnTo>
                    <a:pt x="14" y="19"/>
                  </a:lnTo>
                  <a:lnTo>
                    <a:pt x="14" y="16"/>
                  </a:lnTo>
                  <a:lnTo>
                    <a:pt x="11" y="14"/>
                  </a:lnTo>
                  <a:lnTo>
                    <a:pt x="7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4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latin typeface="Arial" charset="0"/>
              </a:endParaRPr>
            </a:p>
          </p:txBody>
        </p:sp>
        <p:sp>
          <p:nvSpPr>
            <p:cNvPr id="25" name="Freeform 1562"/>
            <p:cNvSpPr>
              <a:spLocks/>
            </p:cNvSpPr>
            <p:nvPr/>
          </p:nvSpPr>
          <p:spPr bwMode="gray">
            <a:xfrm>
              <a:off x="1238119" y="2574309"/>
              <a:ext cx="1519914" cy="2636109"/>
            </a:xfrm>
            <a:custGeom>
              <a:avLst/>
              <a:gdLst>
                <a:gd name="T0" fmla="*/ 30163 w 128"/>
                <a:gd name="T1" fmla="*/ 19050 h 222"/>
                <a:gd name="T2" fmla="*/ 22225 w 128"/>
                <a:gd name="T3" fmla="*/ 33338 h 222"/>
                <a:gd name="T4" fmla="*/ 11113 w 128"/>
                <a:gd name="T5" fmla="*/ 49213 h 222"/>
                <a:gd name="T6" fmla="*/ 11113 w 128"/>
                <a:gd name="T7" fmla="*/ 55563 h 222"/>
                <a:gd name="T8" fmla="*/ 11113 w 128"/>
                <a:gd name="T9" fmla="*/ 63500 h 222"/>
                <a:gd name="T10" fmla="*/ 7938 w 128"/>
                <a:gd name="T11" fmla="*/ 71438 h 222"/>
                <a:gd name="T12" fmla="*/ 11113 w 128"/>
                <a:gd name="T13" fmla="*/ 79375 h 222"/>
                <a:gd name="T14" fmla="*/ 7938 w 128"/>
                <a:gd name="T15" fmla="*/ 101600 h 222"/>
                <a:gd name="T16" fmla="*/ 22225 w 128"/>
                <a:gd name="T17" fmla="*/ 101600 h 222"/>
                <a:gd name="T18" fmla="*/ 11113 w 128"/>
                <a:gd name="T19" fmla="*/ 112713 h 222"/>
                <a:gd name="T20" fmla="*/ 14288 w 128"/>
                <a:gd name="T21" fmla="*/ 123825 h 222"/>
                <a:gd name="T22" fmla="*/ 30163 w 128"/>
                <a:gd name="T23" fmla="*/ 123825 h 222"/>
                <a:gd name="T24" fmla="*/ 44450 w 128"/>
                <a:gd name="T25" fmla="*/ 165100 h 222"/>
                <a:gd name="T26" fmla="*/ 63500 w 128"/>
                <a:gd name="T27" fmla="*/ 179388 h 222"/>
                <a:gd name="T28" fmla="*/ 82550 w 128"/>
                <a:gd name="T29" fmla="*/ 201613 h 222"/>
                <a:gd name="T30" fmla="*/ 71438 w 128"/>
                <a:gd name="T31" fmla="*/ 217488 h 222"/>
                <a:gd name="T32" fmla="*/ 38100 w 128"/>
                <a:gd name="T33" fmla="*/ 220663 h 222"/>
                <a:gd name="T34" fmla="*/ 44450 w 128"/>
                <a:gd name="T35" fmla="*/ 228600 h 222"/>
                <a:gd name="T36" fmla="*/ 38100 w 128"/>
                <a:gd name="T37" fmla="*/ 242888 h 222"/>
                <a:gd name="T38" fmla="*/ 33338 w 128"/>
                <a:gd name="T39" fmla="*/ 266700 h 222"/>
                <a:gd name="T40" fmla="*/ 22225 w 128"/>
                <a:gd name="T41" fmla="*/ 288925 h 222"/>
                <a:gd name="T42" fmla="*/ 41275 w 128"/>
                <a:gd name="T43" fmla="*/ 280988 h 222"/>
                <a:gd name="T44" fmla="*/ 66675 w 128"/>
                <a:gd name="T45" fmla="*/ 288925 h 222"/>
                <a:gd name="T46" fmla="*/ 85725 w 128"/>
                <a:gd name="T47" fmla="*/ 288925 h 222"/>
                <a:gd name="T48" fmla="*/ 30163 w 128"/>
                <a:gd name="T49" fmla="*/ 314325 h 222"/>
                <a:gd name="T50" fmla="*/ 0 w 128"/>
                <a:gd name="T51" fmla="*/ 349250 h 222"/>
                <a:gd name="T52" fmla="*/ 14288 w 128"/>
                <a:gd name="T53" fmla="*/ 352425 h 222"/>
                <a:gd name="T54" fmla="*/ 38100 w 128"/>
                <a:gd name="T55" fmla="*/ 330200 h 222"/>
                <a:gd name="T56" fmla="*/ 55563 w 128"/>
                <a:gd name="T57" fmla="*/ 333375 h 222"/>
                <a:gd name="T58" fmla="*/ 79375 w 128"/>
                <a:gd name="T59" fmla="*/ 322263 h 222"/>
                <a:gd name="T60" fmla="*/ 101600 w 128"/>
                <a:gd name="T61" fmla="*/ 325438 h 222"/>
                <a:gd name="T62" fmla="*/ 134938 w 128"/>
                <a:gd name="T63" fmla="*/ 319088 h 222"/>
                <a:gd name="T64" fmla="*/ 173038 w 128"/>
                <a:gd name="T65" fmla="*/ 314325 h 222"/>
                <a:gd name="T66" fmla="*/ 173038 w 128"/>
                <a:gd name="T67" fmla="*/ 300038 h 222"/>
                <a:gd name="T68" fmla="*/ 173038 w 128"/>
                <a:gd name="T69" fmla="*/ 288925 h 222"/>
                <a:gd name="T70" fmla="*/ 184150 w 128"/>
                <a:gd name="T71" fmla="*/ 280988 h 222"/>
                <a:gd name="T72" fmla="*/ 195263 w 128"/>
                <a:gd name="T73" fmla="*/ 273050 h 222"/>
                <a:gd name="T74" fmla="*/ 198438 w 128"/>
                <a:gd name="T75" fmla="*/ 242888 h 222"/>
                <a:gd name="T76" fmla="*/ 184150 w 128"/>
                <a:gd name="T77" fmla="*/ 236538 h 222"/>
                <a:gd name="T78" fmla="*/ 168275 w 128"/>
                <a:gd name="T79" fmla="*/ 247650 h 222"/>
                <a:gd name="T80" fmla="*/ 161925 w 128"/>
                <a:gd name="T81" fmla="*/ 242888 h 222"/>
                <a:gd name="T82" fmla="*/ 157163 w 128"/>
                <a:gd name="T83" fmla="*/ 217488 h 222"/>
                <a:gd name="T84" fmla="*/ 165100 w 128"/>
                <a:gd name="T85" fmla="*/ 209550 h 222"/>
                <a:gd name="T86" fmla="*/ 134938 w 128"/>
                <a:gd name="T87" fmla="*/ 176213 h 222"/>
                <a:gd name="T88" fmla="*/ 120650 w 128"/>
                <a:gd name="T89" fmla="*/ 168275 h 222"/>
                <a:gd name="T90" fmla="*/ 112713 w 128"/>
                <a:gd name="T91" fmla="*/ 142875 h 222"/>
                <a:gd name="T92" fmla="*/ 96838 w 128"/>
                <a:gd name="T93" fmla="*/ 127000 h 222"/>
                <a:gd name="T94" fmla="*/ 90488 w 128"/>
                <a:gd name="T95" fmla="*/ 115888 h 222"/>
                <a:gd name="T96" fmla="*/ 79375 w 128"/>
                <a:gd name="T97" fmla="*/ 120650 h 222"/>
                <a:gd name="T98" fmla="*/ 90488 w 128"/>
                <a:gd name="T99" fmla="*/ 96838 h 222"/>
                <a:gd name="T100" fmla="*/ 90488 w 128"/>
                <a:gd name="T101" fmla="*/ 82550 h 222"/>
                <a:gd name="T102" fmla="*/ 104775 w 128"/>
                <a:gd name="T103" fmla="*/ 55563 h 222"/>
                <a:gd name="T104" fmla="*/ 101600 w 128"/>
                <a:gd name="T105" fmla="*/ 44450 h 222"/>
                <a:gd name="T106" fmla="*/ 52388 w 128"/>
                <a:gd name="T107" fmla="*/ 52388 h 222"/>
                <a:gd name="T108" fmla="*/ 44450 w 128"/>
                <a:gd name="T109" fmla="*/ 49213 h 222"/>
                <a:gd name="T110" fmla="*/ 55563 w 128"/>
                <a:gd name="T111" fmla="*/ 30163 h 222"/>
                <a:gd name="T112" fmla="*/ 71438 w 128"/>
                <a:gd name="T113" fmla="*/ 14288 h 222"/>
                <a:gd name="T114" fmla="*/ 71438 w 128"/>
                <a:gd name="T115" fmla="*/ 3175 h 222"/>
                <a:gd name="T116" fmla="*/ 52388 w 128"/>
                <a:gd name="T117" fmla="*/ 0 h 22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28"/>
                <a:gd name="T178" fmla="*/ 0 h 222"/>
                <a:gd name="T179" fmla="*/ 128 w 128"/>
                <a:gd name="T180" fmla="*/ 222 h 22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28" h="222">
                  <a:moveTo>
                    <a:pt x="33" y="0"/>
                  </a:moveTo>
                  <a:lnTo>
                    <a:pt x="31" y="2"/>
                  </a:lnTo>
                  <a:lnTo>
                    <a:pt x="26" y="7"/>
                  </a:lnTo>
                  <a:lnTo>
                    <a:pt x="19" y="2"/>
                  </a:lnTo>
                  <a:lnTo>
                    <a:pt x="19" y="7"/>
                  </a:lnTo>
                  <a:lnTo>
                    <a:pt x="19" y="12"/>
                  </a:lnTo>
                  <a:lnTo>
                    <a:pt x="14" y="14"/>
                  </a:lnTo>
                  <a:lnTo>
                    <a:pt x="14" y="16"/>
                  </a:lnTo>
                  <a:lnTo>
                    <a:pt x="14" y="19"/>
                  </a:lnTo>
                  <a:lnTo>
                    <a:pt x="14" y="21"/>
                  </a:lnTo>
                  <a:lnTo>
                    <a:pt x="14" y="24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7" y="26"/>
                  </a:lnTo>
                  <a:lnTo>
                    <a:pt x="7" y="31"/>
                  </a:lnTo>
                  <a:lnTo>
                    <a:pt x="7" y="33"/>
                  </a:lnTo>
                  <a:lnTo>
                    <a:pt x="5" y="33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7" y="38"/>
                  </a:lnTo>
                  <a:lnTo>
                    <a:pt x="7" y="40"/>
                  </a:lnTo>
                  <a:lnTo>
                    <a:pt x="9" y="40"/>
                  </a:lnTo>
                  <a:lnTo>
                    <a:pt x="12" y="40"/>
                  </a:lnTo>
                  <a:lnTo>
                    <a:pt x="9" y="40"/>
                  </a:lnTo>
                  <a:lnTo>
                    <a:pt x="7" y="40"/>
                  </a:lnTo>
                  <a:lnTo>
                    <a:pt x="7" y="42"/>
                  </a:lnTo>
                  <a:lnTo>
                    <a:pt x="9" y="42"/>
                  </a:lnTo>
                  <a:lnTo>
                    <a:pt x="7" y="42"/>
                  </a:lnTo>
                  <a:lnTo>
                    <a:pt x="5" y="45"/>
                  </a:lnTo>
                  <a:lnTo>
                    <a:pt x="5" y="47"/>
                  </a:lnTo>
                  <a:lnTo>
                    <a:pt x="7" y="50"/>
                  </a:lnTo>
                  <a:lnTo>
                    <a:pt x="9" y="50"/>
                  </a:lnTo>
                  <a:lnTo>
                    <a:pt x="7" y="52"/>
                  </a:lnTo>
                  <a:lnTo>
                    <a:pt x="5" y="52"/>
                  </a:lnTo>
                  <a:lnTo>
                    <a:pt x="5" y="57"/>
                  </a:lnTo>
                  <a:lnTo>
                    <a:pt x="5" y="64"/>
                  </a:lnTo>
                  <a:lnTo>
                    <a:pt x="9" y="64"/>
                  </a:lnTo>
                  <a:lnTo>
                    <a:pt x="12" y="61"/>
                  </a:lnTo>
                  <a:lnTo>
                    <a:pt x="14" y="61"/>
                  </a:lnTo>
                  <a:lnTo>
                    <a:pt x="14" y="64"/>
                  </a:lnTo>
                  <a:lnTo>
                    <a:pt x="12" y="66"/>
                  </a:lnTo>
                  <a:lnTo>
                    <a:pt x="9" y="66"/>
                  </a:lnTo>
                  <a:lnTo>
                    <a:pt x="7" y="68"/>
                  </a:lnTo>
                  <a:lnTo>
                    <a:pt x="7" y="71"/>
                  </a:lnTo>
                  <a:lnTo>
                    <a:pt x="7" y="73"/>
                  </a:lnTo>
                  <a:lnTo>
                    <a:pt x="7" y="76"/>
                  </a:lnTo>
                  <a:lnTo>
                    <a:pt x="7" y="78"/>
                  </a:lnTo>
                  <a:lnTo>
                    <a:pt x="7" y="80"/>
                  </a:lnTo>
                  <a:lnTo>
                    <a:pt x="9" y="78"/>
                  </a:lnTo>
                  <a:lnTo>
                    <a:pt x="9" y="76"/>
                  </a:lnTo>
                  <a:lnTo>
                    <a:pt x="12" y="76"/>
                  </a:lnTo>
                  <a:lnTo>
                    <a:pt x="12" y="73"/>
                  </a:lnTo>
                  <a:lnTo>
                    <a:pt x="17" y="73"/>
                  </a:lnTo>
                  <a:lnTo>
                    <a:pt x="19" y="73"/>
                  </a:lnTo>
                  <a:lnTo>
                    <a:pt x="19" y="78"/>
                  </a:lnTo>
                  <a:lnTo>
                    <a:pt x="19" y="80"/>
                  </a:lnTo>
                  <a:lnTo>
                    <a:pt x="17" y="87"/>
                  </a:lnTo>
                  <a:lnTo>
                    <a:pt x="17" y="97"/>
                  </a:lnTo>
                  <a:lnTo>
                    <a:pt x="14" y="104"/>
                  </a:lnTo>
                  <a:lnTo>
                    <a:pt x="21" y="104"/>
                  </a:lnTo>
                  <a:lnTo>
                    <a:pt x="28" y="104"/>
                  </a:lnTo>
                  <a:lnTo>
                    <a:pt x="35" y="101"/>
                  </a:lnTo>
                  <a:lnTo>
                    <a:pt x="47" y="101"/>
                  </a:lnTo>
                  <a:lnTo>
                    <a:pt x="45" y="104"/>
                  </a:lnTo>
                  <a:lnTo>
                    <a:pt x="42" y="109"/>
                  </a:lnTo>
                  <a:lnTo>
                    <a:pt x="40" y="111"/>
                  </a:lnTo>
                  <a:lnTo>
                    <a:pt x="40" y="113"/>
                  </a:lnTo>
                  <a:lnTo>
                    <a:pt x="42" y="113"/>
                  </a:lnTo>
                  <a:lnTo>
                    <a:pt x="45" y="116"/>
                  </a:lnTo>
                  <a:lnTo>
                    <a:pt x="50" y="116"/>
                  </a:lnTo>
                  <a:lnTo>
                    <a:pt x="54" y="116"/>
                  </a:lnTo>
                  <a:lnTo>
                    <a:pt x="52" y="123"/>
                  </a:lnTo>
                  <a:lnTo>
                    <a:pt x="52" y="127"/>
                  </a:lnTo>
                  <a:lnTo>
                    <a:pt x="50" y="130"/>
                  </a:lnTo>
                  <a:lnTo>
                    <a:pt x="50" y="132"/>
                  </a:lnTo>
                  <a:lnTo>
                    <a:pt x="47" y="135"/>
                  </a:lnTo>
                  <a:lnTo>
                    <a:pt x="45" y="137"/>
                  </a:lnTo>
                  <a:lnTo>
                    <a:pt x="42" y="137"/>
                  </a:lnTo>
                  <a:lnTo>
                    <a:pt x="40" y="137"/>
                  </a:lnTo>
                  <a:lnTo>
                    <a:pt x="33" y="135"/>
                  </a:lnTo>
                  <a:lnTo>
                    <a:pt x="24" y="132"/>
                  </a:lnTo>
                  <a:lnTo>
                    <a:pt x="24" y="137"/>
                  </a:lnTo>
                  <a:lnTo>
                    <a:pt x="24" y="139"/>
                  </a:lnTo>
                  <a:lnTo>
                    <a:pt x="26" y="139"/>
                  </a:lnTo>
                  <a:lnTo>
                    <a:pt x="28" y="139"/>
                  </a:lnTo>
                  <a:lnTo>
                    <a:pt x="28" y="142"/>
                  </a:lnTo>
                  <a:lnTo>
                    <a:pt x="28" y="144"/>
                  </a:lnTo>
                  <a:lnTo>
                    <a:pt x="26" y="146"/>
                  </a:lnTo>
                  <a:lnTo>
                    <a:pt x="24" y="149"/>
                  </a:lnTo>
                  <a:lnTo>
                    <a:pt x="21" y="151"/>
                  </a:lnTo>
                  <a:lnTo>
                    <a:pt x="19" y="156"/>
                  </a:lnTo>
                  <a:lnTo>
                    <a:pt x="24" y="153"/>
                  </a:lnTo>
                  <a:lnTo>
                    <a:pt x="26" y="153"/>
                  </a:lnTo>
                  <a:lnTo>
                    <a:pt x="28" y="153"/>
                  </a:lnTo>
                  <a:lnTo>
                    <a:pt x="28" y="158"/>
                  </a:lnTo>
                  <a:lnTo>
                    <a:pt x="28" y="163"/>
                  </a:lnTo>
                  <a:lnTo>
                    <a:pt x="26" y="165"/>
                  </a:lnTo>
                  <a:lnTo>
                    <a:pt x="21" y="168"/>
                  </a:lnTo>
                  <a:lnTo>
                    <a:pt x="17" y="170"/>
                  </a:lnTo>
                  <a:lnTo>
                    <a:pt x="12" y="172"/>
                  </a:lnTo>
                  <a:lnTo>
                    <a:pt x="14" y="177"/>
                  </a:lnTo>
                  <a:lnTo>
                    <a:pt x="14" y="179"/>
                  </a:lnTo>
                  <a:lnTo>
                    <a:pt x="14" y="182"/>
                  </a:lnTo>
                  <a:lnTo>
                    <a:pt x="17" y="182"/>
                  </a:lnTo>
                  <a:lnTo>
                    <a:pt x="19" y="182"/>
                  </a:lnTo>
                  <a:lnTo>
                    <a:pt x="24" y="179"/>
                  </a:lnTo>
                  <a:lnTo>
                    <a:pt x="26" y="177"/>
                  </a:lnTo>
                  <a:lnTo>
                    <a:pt x="26" y="182"/>
                  </a:lnTo>
                  <a:lnTo>
                    <a:pt x="26" y="184"/>
                  </a:lnTo>
                  <a:lnTo>
                    <a:pt x="33" y="184"/>
                  </a:lnTo>
                  <a:lnTo>
                    <a:pt x="35" y="182"/>
                  </a:lnTo>
                  <a:lnTo>
                    <a:pt x="38" y="182"/>
                  </a:lnTo>
                  <a:lnTo>
                    <a:pt x="42" y="182"/>
                  </a:lnTo>
                  <a:lnTo>
                    <a:pt x="45" y="182"/>
                  </a:lnTo>
                  <a:lnTo>
                    <a:pt x="47" y="179"/>
                  </a:lnTo>
                  <a:lnTo>
                    <a:pt x="57" y="179"/>
                  </a:lnTo>
                  <a:lnTo>
                    <a:pt x="54" y="182"/>
                  </a:lnTo>
                  <a:lnTo>
                    <a:pt x="54" y="184"/>
                  </a:lnTo>
                  <a:lnTo>
                    <a:pt x="52" y="187"/>
                  </a:lnTo>
                  <a:lnTo>
                    <a:pt x="52" y="189"/>
                  </a:lnTo>
                  <a:lnTo>
                    <a:pt x="24" y="189"/>
                  </a:lnTo>
                  <a:lnTo>
                    <a:pt x="21" y="194"/>
                  </a:lnTo>
                  <a:lnTo>
                    <a:pt x="19" y="198"/>
                  </a:lnTo>
                  <a:lnTo>
                    <a:pt x="17" y="203"/>
                  </a:lnTo>
                  <a:lnTo>
                    <a:pt x="14" y="205"/>
                  </a:lnTo>
                  <a:lnTo>
                    <a:pt x="12" y="210"/>
                  </a:lnTo>
                  <a:lnTo>
                    <a:pt x="7" y="213"/>
                  </a:lnTo>
                  <a:lnTo>
                    <a:pt x="5" y="215"/>
                  </a:lnTo>
                  <a:lnTo>
                    <a:pt x="0" y="220"/>
                  </a:lnTo>
                  <a:lnTo>
                    <a:pt x="2" y="220"/>
                  </a:lnTo>
                  <a:lnTo>
                    <a:pt x="5" y="220"/>
                  </a:lnTo>
                  <a:lnTo>
                    <a:pt x="7" y="220"/>
                  </a:lnTo>
                  <a:lnTo>
                    <a:pt x="9" y="222"/>
                  </a:lnTo>
                  <a:lnTo>
                    <a:pt x="12" y="222"/>
                  </a:lnTo>
                  <a:lnTo>
                    <a:pt x="14" y="222"/>
                  </a:lnTo>
                  <a:lnTo>
                    <a:pt x="14" y="217"/>
                  </a:lnTo>
                  <a:lnTo>
                    <a:pt x="14" y="215"/>
                  </a:lnTo>
                  <a:lnTo>
                    <a:pt x="21" y="210"/>
                  </a:lnTo>
                  <a:lnTo>
                    <a:pt x="24" y="208"/>
                  </a:lnTo>
                  <a:lnTo>
                    <a:pt x="26" y="208"/>
                  </a:lnTo>
                  <a:lnTo>
                    <a:pt x="28" y="208"/>
                  </a:lnTo>
                  <a:lnTo>
                    <a:pt x="31" y="210"/>
                  </a:lnTo>
                  <a:lnTo>
                    <a:pt x="33" y="210"/>
                  </a:lnTo>
                  <a:lnTo>
                    <a:pt x="35" y="210"/>
                  </a:lnTo>
                  <a:lnTo>
                    <a:pt x="38" y="213"/>
                  </a:lnTo>
                  <a:lnTo>
                    <a:pt x="40" y="210"/>
                  </a:lnTo>
                  <a:lnTo>
                    <a:pt x="40" y="208"/>
                  </a:lnTo>
                  <a:lnTo>
                    <a:pt x="45" y="203"/>
                  </a:lnTo>
                  <a:lnTo>
                    <a:pt x="47" y="203"/>
                  </a:lnTo>
                  <a:lnTo>
                    <a:pt x="50" y="203"/>
                  </a:lnTo>
                  <a:lnTo>
                    <a:pt x="52" y="205"/>
                  </a:lnTo>
                  <a:lnTo>
                    <a:pt x="54" y="205"/>
                  </a:lnTo>
                  <a:lnTo>
                    <a:pt x="57" y="205"/>
                  </a:lnTo>
                  <a:lnTo>
                    <a:pt x="59" y="205"/>
                  </a:lnTo>
                  <a:lnTo>
                    <a:pt x="61" y="208"/>
                  </a:lnTo>
                  <a:lnTo>
                    <a:pt x="64" y="205"/>
                  </a:lnTo>
                  <a:lnTo>
                    <a:pt x="66" y="203"/>
                  </a:lnTo>
                  <a:lnTo>
                    <a:pt x="68" y="198"/>
                  </a:lnTo>
                  <a:lnTo>
                    <a:pt x="73" y="198"/>
                  </a:lnTo>
                  <a:lnTo>
                    <a:pt x="76" y="198"/>
                  </a:lnTo>
                  <a:lnTo>
                    <a:pt x="80" y="198"/>
                  </a:lnTo>
                  <a:lnTo>
                    <a:pt x="85" y="201"/>
                  </a:lnTo>
                  <a:lnTo>
                    <a:pt x="90" y="201"/>
                  </a:lnTo>
                  <a:lnTo>
                    <a:pt x="94" y="201"/>
                  </a:lnTo>
                  <a:lnTo>
                    <a:pt x="99" y="201"/>
                  </a:lnTo>
                  <a:lnTo>
                    <a:pt x="102" y="201"/>
                  </a:lnTo>
                  <a:lnTo>
                    <a:pt x="106" y="201"/>
                  </a:lnTo>
                  <a:lnTo>
                    <a:pt x="109" y="198"/>
                  </a:lnTo>
                  <a:lnTo>
                    <a:pt x="113" y="196"/>
                  </a:lnTo>
                  <a:lnTo>
                    <a:pt x="118" y="194"/>
                  </a:lnTo>
                  <a:lnTo>
                    <a:pt x="118" y="189"/>
                  </a:lnTo>
                  <a:lnTo>
                    <a:pt x="113" y="189"/>
                  </a:lnTo>
                  <a:lnTo>
                    <a:pt x="111" y="189"/>
                  </a:lnTo>
                  <a:lnTo>
                    <a:pt x="109" y="189"/>
                  </a:lnTo>
                  <a:lnTo>
                    <a:pt x="106" y="189"/>
                  </a:lnTo>
                  <a:lnTo>
                    <a:pt x="106" y="187"/>
                  </a:lnTo>
                  <a:lnTo>
                    <a:pt x="106" y="184"/>
                  </a:lnTo>
                  <a:lnTo>
                    <a:pt x="109" y="182"/>
                  </a:lnTo>
                  <a:lnTo>
                    <a:pt x="109" y="179"/>
                  </a:lnTo>
                  <a:lnTo>
                    <a:pt x="109" y="177"/>
                  </a:lnTo>
                  <a:lnTo>
                    <a:pt x="111" y="177"/>
                  </a:lnTo>
                  <a:lnTo>
                    <a:pt x="113" y="177"/>
                  </a:lnTo>
                  <a:lnTo>
                    <a:pt x="116" y="177"/>
                  </a:lnTo>
                  <a:lnTo>
                    <a:pt x="118" y="177"/>
                  </a:lnTo>
                  <a:lnTo>
                    <a:pt x="120" y="177"/>
                  </a:lnTo>
                  <a:lnTo>
                    <a:pt x="120" y="175"/>
                  </a:lnTo>
                  <a:lnTo>
                    <a:pt x="123" y="175"/>
                  </a:lnTo>
                  <a:lnTo>
                    <a:pt x="123" y="172"/>
                  </a:lnTo>
                  <a:lnTo>
                    <a:pt x="123" y="170"/>
                  </a:lnTo>
                  <a:lnTo>
                    <a:pt x="125" y="168"/>
                  </a:lnTo>
                  <a:lnTo>
                    <a:pt x="125" y="165"/>
                  </a:lnTo>
                  <a:lnTo>
                    <a:pt x="128" y="161"/>
                  </a:lnTo>
                  <a:lnTo>
                    <a:pt x="128" y="158"/>
                  </a:lnTo>
                  <a:lnTo>
                    <a:pt x="125" y="153"/>
                  </a:lnTo>
                  <a:lnTo>
                    <a:pt x="123" y="151"/>
                  </a:lnTo>
                  <a:lnTo>
                    <a:pt x="120" y="149"/>
                  </a:lnTo>
                  <a:lnTo>
                    <a:pt x="118" y="149"/>
                  </a:lnTo>
                  <a:lnTo>
                    <a:pt x="116" y="149"/>
                  </a:lnTo>
                  <a:lnTo>
                    <a:pt x="113" y="149"/>
                  </a:lnTo>
                  <a:lnTo>
                    <a:pt x="111" y="149"/>
                  </a:lnTo>
                  <a:lnTo>
                    <a:pt x="109" y="156"/>
                  </a:lnTo>
                  <a:lnTo>
                    <a:pt x="106" y="156"/>
                  </a:lnTo>
                  <a:lnTo>
                    <a:pt x="104" y="153"/>
                  </a:lnTo>
                  <a:lnTo>
                    <a:pt x="104" y="151"/>
                  </a:lnTo>
                  <a:lnTo>
                    <a:pt x="102" y="151"/>
                  </a:lnTo>
                  <a:lnTo>
                    <a:pt x="102" y="153"/>
                  </a:lnTo>
                  <a:lnTo>
                    <a:pt x="102" y="151"/>
                  </a:lnTo>
                  <a:lnTo>
                    <a:pt x="102" y="146"/>
                  </a:lnTo>
                  <a:lnTo>
                    <a:pt x="102" y="142"/>
                  </a:lnTo>
                  <a:lnTo>
                    <a:pt x="102" y="139"/>
                  </a:lnTo>
                  <a:lnTo>
                    <a:pt x="99" y="137"/>
                  </a:lnTo>
                  <a:lnTo>
                    <a:pt x="97" y="132"/>
                  </a:lnTo>
                  <a:lnTo>
                    <a:pt x="99" y="132"/>
                  </a:lnTo>
                  <a:lnTo>
                    <a:pt x="102" y="132"/>
                  </a:lnTo>
                  <a:lnTo>
                    <a:pt x="104" y="132"/>
                  </a:lnTo>
                  <a:lnTo>
                    <a:pt x="104" y="130"/>
                  </a:lnTo>
                  <a:lnTo>
                    <a:pt x="102" y="127"/>
                  </a:lnTo>
                  <a:lnTo>
                    <a:pt x="97" y="127"/>
                  </a:lnTo>
                  <a:lnTo>
                    <a:pt x="94" y="125"/>
                  </a:lnTo>
                  <a:lnTo>
                    <a:pt x="90" y="118"/>
                  </a:lnTo>
                  <a:lnTo>
                    <a:pt x="85" y="111"/>
                  </a:lnTo>
                  <a:lnTo>
                    <a:pt x="83" y="109"/>
                  </a:lnTo>
                  <a:lnTo>
                    <a:pt x="80" y="109"/>
                  </a:lnTo>
                  <a:lnTo>
                    <a:pt x="78" y="109"/>
                  </a:lnTo>
                  <a:lnTo>
                    <a:pt x="76" y="106"/>
                  </a:lnTo>
                  <a:lnTo>
                    <a:pt x="73" y="104"/>
                  </a:lnTo>
                  <a:lnTo>
                    <a:pt x="73" y="101"/>
                  </a:lnTo>
                  <a:lnTo>
                    <a:pt x="71" y="97"/>
                  </a:lnTo>
                  <a:lnTo>
                    <a:pt x="71" y="94"/>
                  </a:lnTo>
                  <a:lnTo>
                    <a:pt x="71" y="90"/>
                  </a:lnTo>
                  <a:lnTo>
                    <a:pt x="68" y="87"/>
                  </a:lnTo>
                  <a:lnTo>
                    <a:pt x="68" y="85"/>
                  </a:lnTo>
                  <a:lnTo>
                    <a:pt x="66" y="83"/>
                  </a:lnTo>
                  <a:lnTo>
                    <a:pt x="64" y="80"/>
                  </a:lnTo>
                  <a:lnTo>
                    <a:pt x="61" y="80"/>
                  </a:lnTo>
                  <a:lnTo>
                    <a:pt x="59" y="80"/>
                  </a:lnTo>
                  <a:lnTo>
                    <a:pt x="59" y="76"/>
                  </a:lnTo>
                  <a:lnTo>
                    <a:pt x="57" y="73"/>
                  </a:lnTo>
                  <a:lnTo>
                    <a:pt x="54" y="73"/>
                  </a:lnTo>
                  <a:lnTo>
                    <a:pt x="54" y="76"/>
                  </a:lnTo>
                  <a:lnTo>
                    <a:pt x="52" y="76"/>
                  </a:lnTo>
                  <a:lnTo>
                    <a:pt x="50" y="76"/>
                  </a:lnTo>
                  <a:lnTo>
                    <a:pt x="52" y="71"/>
                  </a:lnTo>
                  <a:lnTo>
                    <a:pt x="54" y="66"/>
                  </a:lnTo>
                  <a:lnTo>
                    <a:pt x="57" y="66"/>
                  </a:lnTo>
                  <a:lnTo>
                    <a:pt x="57" y="64"/>
                  </a:lnTo>
                  <a:lnTo>
                    <a:pt x="57" y="61"/>
                  </a:lnTo>
                  <a:lnTo>
                    <a:pt x="54" y="59"/>
                  </a:lnTo>
                  <a:lnTo>
                    <a:pt x="52" y="59"/>
                  </a:lnTo>
                  <a:lnTo>
                    <a:pt x="54" y="57"/>
                  </a:lnTo>
                  <a:lnTo>
                    <a:pt x="57" y="52"/>
                  </a:lnTo>
                  <a:lnTo>
                    <a:pt x="61" y="50"/>
                  </a:lnTo>
                  <a:lnTo>
                    <a:pt x="64" y="47"/>
                  </a:lnTo>
                  <a:lnTo>
                    <a:pt x="66" y="42"/>
                  </a:lnTo>
                  <a:lnTo>
                    <a:pt x="66" y="38"/>
                  </a:lnTo>
                  <a:lnTo>
                    <a:pt x="66" y="35"/>
                  </a:lnTo>
                  <a:lnTo>
                    <a:pt x="66" y="33"/>
                  </a:lnTo>
                  <a:lnTo>
                    <a:pt x="66" y="31"/>
                  </a:lnTo>
                  <a:lnTo>
                    <a:pt x="64" y="31"/>
                  </a:lnTo>
                  <a:lnTo>
                    <a:pt x="64" y="28"/>
                  </a:lnTo>
                  <a:lnTo>
                    <a:pt x="61" y="28"/>
                  </a:lnTo>
                  <a:lnTo>
                    <a:pt x="57" y="28"/>
                  </a:lnTo>
                  <a:lnTo>
                    <a:pt x="45" y="31"/>
                  </a:lnTo>
                  <a:lnTo>
                    <a:pt x="33" y="33"/>
                  </a:lnTo>
                  <a:lnTo>
                    <a:pt x="31" y="33"/>
                  </a:lnTo>
                  <a:lnTo>
                    <a:pt x="31" y="31"/>
                  </a:lnTo>
                  <a:lnTo>
                    <a:pt x="28" y="31"/>
                  </a:lnTo>
                  <a:lnTo>
                    <a:pt x="31" y="26"/>
                  </a:lnTo>
                  <a:lnTo>
                    <a:pt x="31" y="21"/>
                  </a:lnTo>
                  <a:lnTo>
                    <a:pt x="33" y="19"/>
                  </a:lnTo>
                  <a:lnTo>
                    <a:pt x="35" y="19"/>
                  </a:lnTo>
                  <a:lnTo>
                    <a:pt x="38" y="19"/>
                  </a:lnTo>
                  <a:lnTo>
                    <a:pt x="40" y="16"/>
                  </a:lnTo>
                  <a:lnTo>
                    <a:pt x="42" y="12"/>
                  </a:lnTo>
                  <a:lnTo>
                    <a:pt x="47" y="12"/>
                  </a:lnTo>
                  <a:lnTo>
                    <a:pt x="45" y="9"/>
                  </a:lnTo>
                  <a:lnTo>
                    <a:pt x="45" y="5"/>
                  </a:lnTo>
                  <a:lnTo>
                    <a:pt x="45" y="2"/>
                  </a:lnTo>
                  <a:lnTo>
                    <a:pt x="45" y="0"/>
                  </a:lnTo>
                  <a:lnTo>
                    <a:pt x="45" y="2"/>
                  </a:lnTo>
                  <a:lnTo>
                    <a:pt x="40" y="0"/>
                  </a:lnTo>
                  <a:lnTo>
                    <a:pt x="33" y="0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latin typeface="Arial" charset="0"/>
              </a:endParaRPr>
            </a:p>
          </p:txBody>
        </p:sp>
        <p:sp>
          <p:nvSpPr>
            <p:cNvPr id="26" name="Freeform 1580"/>
            <p:cNvSpPr>
              <a:spLocks/>
            </p:cNvSpPr>
            <p:nvPr/>
          </p:nvSpPr>
          <p:spPr bwMode="gray">
            <a:xfrm>
              <a:off x="3772245" y="5827892"/>
              <a:ext cx="493832" cy="161344"/>
            </a:xfrm>
            <a:custGeom>
              <a:avLst/>
              <a:gdLst/>
              <a:ahLst/>
              <a:cxnLst/>
              <a:rect l="l" t="t" r="r" b="b"/>
              <a:pathLst>
                <a:path w="598579" h="195567">
                  <a:moveTo>
                    <a:pt x="296322" y="0"/>
                  </a:moveTo>
                  <a:lnTo>
                    <a:pt x="325108" y="0"/>
                  </a:lnTo>
                  <a:lnTo>
                    <a:pt x="368291" y="0"/>
                  </a:lnTo>
                  <a:lnTo>
                    <a:pt x="425863" y="28786"/>
                  </a:lnTo>
                  <a:lnTo>
                    <a:pt x="425863" y="71970"/>
                  </a:lnTo>
                  <a:lnTo>
                    <a:pt x="598579" y="172716"/>
                  </a:lnTo>
                  <a:lnTo>
                    <a:pt x="598579" y="195567"/>
                  </a:lnTo>
                  <a:lnTo>
                    <a:pt x="0" y="195567"/>
                  </a:lnTo>
                  <a:lnTo>
                    <a:pt x="22851" y="172716"/>
                  </a:lnTo>
                  <a:lnTo>
                    <a:pt x="22851" y="129542"/>
                  </a:lnTo>
                  <a:lnTo>
                    <a:pt x="22851" y="100756"/>
                  </a:lnTo>
                  <a:lnTo>
                    <a:pt x="51637" y="100756"/>
                  </a:lnTo>
                  <a:lnTo>
                    <a:pt x="94820" y="100756"/>
                  </a:lnTo>
                  <a:lnTo>
                    <a:pt x="123606" y="100756"/>
                  </a:lnTo>
                  <a:lnTo>
                    <a:pt x="152392" y="71970"/>
                  </a:lnTo>
                  <a:lnTo>
                    <a:pt x="195576" y="71970"/>
                  </a:lnTo>
                  <a:lnTo>
                    <a:pt x="253147" y="28786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latin typeface="Arial" charset="0"/>
              </a:endParaRPr>
            </a:p>
          </p:txBody>
        </p:sp>
        <p:sp>
          <p:nvSpPr>
            <p:cNvPr id="27" name="Freeform 1583"/>
            <p:cNvSpPr>
              <a:spLocks/>
            </p:cNvSpPr>
            <p:nvPr/>
          </p:nvSpPr>
          <p:spPr bwMode="gray">
            <a:xfrm>
              <a:off x="5132891" y="3690499"/>
              <a:ext cx="118743" cy="118743"/>
            </a:xfrm>
            <a:custGeom>
              <a:avLst/>
              <a:gdLst>
                <a:gd name="T0" fmla="*/ 0 w 10"/>
                <a:gd name="T1" fmla="*/ 0 h 10"/>
                <a:gd name="T2" fmla="*/ 4763 w 10"/>
                <a:gd name="T3" fmla="*/ 7938 h 10"/>
                <a:gd name="T4" fmla="*/ 4763 w 10"/>
                <a:gd name="T5" fmla="*/ 15875 h 10"/>
                <a:gd name="T6" fmla="*/ 7938 w 10"/>
                <a:gd name="T7" fmla="*/ 15875 h 10"/>
                <a:gd name="T8" fmla="*/ 11113 w 10"/>
                <a:gd name="T9" fmla="*/ 15875 h 10"/>
                <a:gd name="T10" fmla="*/ 15875 w 10"/>
                <a:gd name="T11" fmla="*/ 15875 h 10"/>
                <a:gd name="T12" fmla="*/ 15875 w 10"/>
                <a:gd name="T13" fmla="*/ 15875 h 10"/>
                <a:gd name="T14" fmla="*/ 15875 w 10"/>
                <a:gd name="T15" fmla="*/ 15875 h 10"/>
                <a:gd name="T16" fmla="*/ 15875 w 10"/>
                <a:gd name="T17" fmla="*/ 15875 h 10"/>
                <a:gd name="T18" fmla="*/ 15875 w 10"/>
                <a:gd name="T19" fmla="*/ 11113 h 10"/>
                <a:gd name="T20" fmla="*/ 15875 w 10"/>
                <a:gd name="T21" fmla="*/ 11113 h 10"/>
                <a:gd name="T22" fmla="*/ 11113 w 10"/>
                <a:gd name="T23" fmla="*/ 7938 h 10"/>
                <a:gd name="T24" fmla="*/ 7938 w 10"/>
                <a:gd name="T25" fmla="*/ 4763 h 10"/>
                <a:gd name="T26" fmla="*/ 4763 w 10"/>
                <a:gd name="T27" fmla="*/ 0 h 10"/>
                <a:gd name="T28" fmla="*/ 0 w 10"/>
                <a:gd name="T29" fmla="*/ 0 h 10"/>
                <a:gd name="T30" fmla="*/ 0 w 10"/>
                <a:gd name="T31" fmla="*/ 0 h 10"/>
                <a:gd name="T32" fmla="*/ 0 w 10"/>
                <a:gd name="T33" fmla="*/ 0 h 10"/>
                <a:gd name="T34" fmla="*/ 0 w 10"/>
                <a:gd name="T35" fmla="*/ 0 h 1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0"/>
                <a:gd name="T55" fmla="*/ 0 h 10"/>
                <a:gd name="T56" fmla="*/ 10 w 10"/>
                <a:gd name="T57" fmla="*/ 10 h 1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0" h="10">
                  <a:moveTo>
                    <a:pt x="0" y="0"/>
                  </a:moveTo>
                  <a:lnTo>
                    <a:pt x="3" y="5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7" y="10"/>
                  </a:lnTo>
                  <a:lnTo>
                    <a:pt x="10" y="10"/>
                  </a:lnTo>
                  <a:lnTo>
                    <a:pt x="10" y="7"/>
                  </a:lnTo>
                  <a:lnTo>
                    <a:pt x="7" y="5"/>
                  </a:lnTo>
                  <a:lnTo>
                    <a:pt x="5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latin typeface="Arial" charset="0"/>
              </a:endParaRPr>
            </a:p>
          </p:txBody>
        </p:sp>
        <p:sp>
          <p:nvSpPr>
            <p:cNvPr id="28" name="Freeform 1682"/>
            <p:cNvSpPr>
              <a:spLocks/>
            </p:cNvSpPr>
            <p:nvPr/>
          </p:nvSpPr>
          <p:spPr bwMode="gray">
            <a:xfrm>
              <a:off x="5026025" y="4066020"/>
              <a:ext cx="356222" cy="942528"/>
            </a:xfrm>
            <a:custGeom>
              <a:avLst/>
              <a:gdLst/>
              <a:ahLst/>
              <a:cxnLst/>
              <a:rect l="l" t="t" r="r" b="b"/>
              <a:pathLst>
                <a:path w="47624" h="126008">
                  <a:moveTo>
                    <a:pt x="45243" y="0"/>
                  </a:moveTo>
                  <a:lnTo>
                    <a:pt x="45243" y="119658"/>
                  </a:lnTo>
                  <a:lnTo>
                    <a:pt x="47624" y="119658"/>
                  </a:lnTo>
                  <a:lnTo>
                    <a:pt x="47624" y="126008"/>
                  </a:lnTo>
                  <a:lnTo>
                    <a:pt x="44450" y="126008"/>
                  </a:lnTo>
                  <a:lnTo>
                    <a:pt x="41275" y="126008"/>
                  </a:lnTo>
                  <a:lnTo>
                    <a:pt x="36513" y="122833"/>
                  </a:lnTo>
                  <a:lnTo>
                    <a:pt x="33338" y="122833"/>
                  </a:lnTo>
                  <a:lnTo>
                    <a:pt x="33338" y="119658"/>
                  </a:lnTo>
                  <a:lnTo>
                    <a:pt x="22225" y="119658"/>
                  </a:lnTo>
                  <a:lnTo>
                    <a:pt x="19050" y="119658"/>
                  </a:lnTo>
                  <a:lnTo>
                    <a:pt x="11113" y="114896"/>
                  </a:lnTo>
                  <a:lnTo>
                    <a:pt x="11113" y="108546"/>
                  </a:lnTo>
                  <a:lnTo>
                    <a:pt x="11113" y="100608"/>
                  </a:lnTo>
                  <a:lnTo>
                    <a:pt x="11113" y="89496"/>
                  </a:lnTo>
                  <a:lnTo>
                    <a:pt x="11113" y="81558"/>
                  </a:lnTo>
                  <a:lnTo>
                    <a:pt x="7938" y="73621"/>
                  </a:lnTo>
                  <a:lnTo>
                    <a:pt x="3175" y="67271"/>
                  </a:lnTo>
                  <a:lnTo>
                    <a:pt x="3175" y="59333"/>
                  </a:lnTo>
                  <a:lnTo>
                    <a:pt x="7938" y="56158"/>
                  </a:lnTo>
                  <a:lnTo>
                    <a:pt x="7938" y="51396"/>
                  </a:lnTo>
                  <a:lnTo>
                    <a:pt x="7938" y="48221"/>
                  </a:lnTo>
                  <a:lnTo>
                    <a:pt x="3175" y="43458"/>
                  </a:lnTo>
                  <a:lnTo>
                    <a:pt x="0" y="40283"/>
                  </a:lnTo>
                  <a:lnTo>
                    <a:pt x="0" y="37108"/>
                  </a:lnTo>
                  <a:lnTo>
                    <a:pt x="0" y="32346"/>
                  </a:lnTo>
                  <a:lnTo>
                    <a:pt x="3175" y="29171"/>
                  </a:lnTo>
                  <a:lnTo>
                    <a:pt x="3175" y="25996"/>
                  </a:lnTo>
                  <a:lnTo>
                    <a:pt x="3175" y="21233"/>
                  </a:lnTo>
                  <a:lnTo>
                    <a:pt x="3175" y="18058"/>
                  </a:lnTo>
                  <a:lnTo>
                    <a:pt x="3175" y="10121"/>
                  </a:lnTo>
                  <a:lnTo>
                    <a:pt x="7938" y="10121"/>
                  </a:lnTo>
                  <a:lnTo>
                    <a:pt x="11113" y="10121"/>
                  </a:lnTo>
                  <a:lnTo>
                    <a:pt x="14288" y="10121"/>
                  </a:lnTo>
                  <a:lnTo>
                    <a:pt x="22225" y="6946"/>
                  </a:lnTo>
                  <a:lnTo>
                    <a:pt x="25400" y="6946"/>
                  </a:lnTo>
                  <a:lnTo>
                    <a:pt x="33338" y="6946"/>
                  </a:lnTo>
                  <a:lnTo>
                    <a:pt x="36513" y="2183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latin typeface="Arial" charset="0"/>
              </a:endParaRPr>
            </a:p>
          </p:txBody>
        </p:sp>
        <p:sp>
          <p:nvSpPr>
            <p:cNvPr id="29" name="Freeform 1747"/>
            <p:cNvSpPr>
              <a:spLocks/>
            </p:cNvSpPr>
            <p:nvPr/>
          </p:nvSpPr>
          <p:spPr bwMode="gray">
            <a:xfrm>
              <a:off x="3031146" y="4307958"/>
              <a:ext cx="759957" cy="653093"/>
            </a:xfrm>
            <a:custGeom>
              <a:avLst/>
              <a:gdLst>
                <a:gd name="T0" fmla="*/ 98425 w 64"/>
                <a:gd name="T1" fmla="*/ 15875 h 55"/>
                <a:gd name="T2" fmla="*/ 98425 w 64"/>
                <a:gd name="T3" fmla="*/ 11113 h 55"/>
                <a:gd name="T4" fmla="*/ 90488 w 64"/>
                <a:gd name="T5" fmla="*/ 4763 h 55"/>
                <a:gd name="T6" fmla="*/ 71438 w 64"/>
                <a:gd name="T7" fmla="*/ 0 h 55"/>
                <a:gd name="T8" fmla="*/ 60325 w 64"/>
                <a:gd name="T9" fmla="*/ 0 h 55"/>
                <a:gd name="T10" fmla="*/ 52388 w 64"/>
                <a:gd name="T11" fmla="*/ 7938 h 55"/>
                <a:gd name="T12" fmla="*/ 41275 w 64"/>
                <a:gd name="T13" fmla="*/ 15875 h 55"/>
                <a:gd name="T14" fmla="*/ 33338 w 64"/>
                <a:gd name="T15" fmla="*/ 19050 h 55"/>
                <a:gd name="T16" fmla="*/ 30163 w 64"/>
                <a:gd name="T17" fmla="*/ 23813 h 55"/>
                <a:gd name="T18" fmla="*/ 26988 w 64"/>
                <a:gd name="T19" fmla="*/ 34925 h 55"/>
                <a:gd name="T20" fmla="*/ 26988 w 64"/>
                <a:gd name="T21" fmla="*/ 57150 h 55"/>
                <a:gd name="T22" fmla="*/ 19050 w 64"/>
                <a:gd name="T23" fmla="*/ 68263 h 55"/>
                <a:gd name="T24" fmla="*/ 7938 w 64"/>
                <a:gd name="T25" fmla="*/ 68263 h 55"/>
                <a:gd name="T26" fmla="*/ 0 w 64"/>
                <a:gd name="T27" fmla="*/ 71438 h 55"/>
                <a:gd name="T28" fmla="*/ 4763 w 64"/>
                <a:gd name="T29" fmla="*/ 76200 h 55"/>
                <a:gd name="T30" fmla="*/ 11113 w 64"/>
                <a:gd name="T31" fmla="*/ 79375 h 55"/>
                <a:gd name="T32" fmla="*/ 19050 w 64"/>
                <a:gd name="T33" fmla="*/ 82550 h 55"/>
                <a:gd name="T34" fmla="*/ 22225 w 64"/>
                <a:gd name="T35" fmla="*/ 79375 h 55"/>
                <a:gd name="T36" fmla="*/ 26988 w 64"/>
                <a:gd name="T37" fmla="*/ 79375 h 55"/>
                <a:gd name="T38" fmla="*/ 30163 w 64"/>
                <a:gd name="T39" fmla="*/ 76200 h 55"/>
                <a:gd name="T40" fmla="*/ 33338 w 64"/>
                <a:gd name="T41" fmla="*/ 76200 h 55"/>
                <a:gd name="T42" fmla="*/ 41275 w 64"/>
                <a:gd name="T43" fmla="*/ 76200 h 55"/>
                <a:gd name="T44" fmla="*/ 41275 w 64"/>
                <a:gd name="T45" fmla="*/ 79375 h 55"/>
                <a:gd name="T46" fmla="*/ 41275 w 64"/>
                <a:gd name="T47" fmla="*/ 82550 h 55"/>
                <a:gd name="T48" fmla="*/ 44450 w 64"/>
                <a:gd name="T49" fmla="*/ 82550 h 55"/>
                <a:gd name="T50" fmla="*/ 52388 w 64"/>
                <a:gd name="T51" fmla="*/ 87313 h 55"/>
                <a:gd name="T52" fmla="*/ 52388 w 64"/>
                <a:gd name="T53" fmla="*/ 82550 h 55"/>
                <a:gd name="T54" fmla="*/ 60325 w 64"/>
                <a:gd name="T55" fmla="*/ 68263 h 55"/>
                <a:gd name="T56" fmla="*/ 63500 w 64"/>
                <a:gd name="T57" fmla="*/ 57150 h 55"/>
                <a:gd name="T58" fmla="*/ 68263 w 64"/>
                <a:gd name="T59" fmla="*/ 52388 h 55"/>
                <a:gd name="T60" fmla="*/ 71438 w 64"/>
                <a:gd name="T61" fmla="*/ 52388 h 55"/>
                <a:gd name="T62" fmla="*/ 79375 w 64"/>
                <a:gd name="T63" fmla="*/ 57150 h 55"/>
                <a:gd name="T64" fmla="*/ 85725 w 64"/>
                <a:gd name="T65" fmla="*/ 52388 h 55"/>
                <a:gd name="T66" fmla="*/ 85725 w 64"/>
                <a:gd name="T67" fmla="*/ 49213 h 55"/>
                <a:gd name="T68" fmla="*/ 90488 w 64"/>
                <a:gd name="T69" fmla="*/ 49213 h 55"/>
                <a:gd name="T70" fmla="*/ 98425 w 64"/>
                <a:gd name="T71" fmla="*/ 46038 h 55"/>
                <a:gd name="T72" fmla="*/ 98425 w 64"/>
                <a:gd name="T73" fmla="*/ 41275 h 55"/>
                <a:gd name="T74" fmla="*/ 98425 w 64"/>
                <a:gd name="T75" fmla="*/ 41275 h 55"/>
                <a:gd name="T76" fmla="*/ 98425 w 64"/>
                <a:gd name="T77" fmla="*/ 41275 h 55"/>
                <a:gd name="T78" fmla="*/ 93663 w 64"/>
                <a:gd name="T79" fmla="*/ 38100 h 55"/>
                <a:gd name="T80" fmla="*/ 93663 w 64"/>
                <a:gd name="T81" fmla="*/ 34925 h 55"/>
                <a:gd name="T82" fmla="*/ 98425 w 64"/>
                <a:gd name="T83" fmla="*/ 34925 h 55"/>
                <a:gd name="T84" fmla="*/ 101600 w 64"/>
                <a:gd name="T85" fmla="*/ 34925 h 55"/>
                <a:gd name="T86" fmla="*/ 101600 w 64"/>
                <a:gd name="T87" fmla="*/ 30163 h 55"/>
                <a:gd name="T88" fmla="*/ 101600 w 64"/>
                <a:gd name="T89" fmla="*/ 26988 h 55"/>
                <a:gd name="T90" fmla="*/ 101600 w 64"/>
                <a:gd name="T91" fmla="*/ 15875 h 55"/>
                <a:gd name="T92" fmla="*/ 98425 w 64"/>
                <a:gd name="T93" fmla="*/ 11113 h 55"/>
                <a:gd name="T94" fmla="*/ 98425 w 64"/>
                <a:gd name="T95" fmla="*/ 11113 h 5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64"/>
                <a:gd name="T145" fmla="*/ 0 h 55"/>
                <a:gd name="T146" fmla="*/ 64 w 64"/>
                <a:gd name="T147" fmla="*/ 55 h 5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64" h="55">
                  <a:moveTo>
                    <a:pt x="62" y="7"/>
                  </a:moveTo>
                  <a:lnTo>
                    <a:pt x="62" y="10"/>
                  </a:lnTo>
                  <a:lnTo>
                    <a:pt x="62" y="7"/>
                  </a:lnTo>
                  <a:lnTo>
                    <a:pt x="62" y="5"/>
                  </a:lnTo>
                  <a:lnTo>
                    <a:pt x="57" y="3"/>
                  </a:lnTo>
                  <a:lnTo>
                    <a:pt x="50" y="3"/>
                  </a:lnTo>
                  <a:lnTo>
                    <a:pt x="45" y="0"/>
                  </a:lnTo>
                  <a:lnTo>
                    <a:pt x="43" y="0"/>
                  </a:lnTo>
                  <a:lnTo>
                    <a:pt x="38" y="0"/>
                  </a:lnTo>
                  <a:lnTo>
                    <a:pt x="36" y="3"/>
                  </a:lnTo>
                  <a:lnTo>
                    <a:pt x="33" y="5"/>
                  </a:lnTo>
                  <a:lnTo>
                    <a:pt x="33" y="10"/>
                  </a:lnTo>
                  <a:lnTo>
                    <a:pt x="26" y="10"/>
                  </a:lnTo>
                  <a:lnTo>
                    <a:pt x="21" y="12"/>
                  </a:lnTo>
                  <a:lnTo>
                    <a:pt x="21" y="15"/>
                  </a:lnTo>
                  <a:lnTo>
                    <a:pt x="19" y="15"/>
                  </a:lnTo>
                  <a:lnTo>
                    <a:pt x="19" y="17"/>
                  </a:lnTo>
                  <a:lnTo>
                    <a:pt x="17" y="22"/>
                  </a:lnTo>
                  <a:lnTo>
                    <a:pt x="17" y="26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2" y="43"/>
                  </a:lnTo>
                  <a:lnTo>
                    <a:pt x="7" y="43"/>
                  </a:lnTo>
                  <a:lnTo>
                    <a:pt x="5" y="43"/>
                  </a:lnTo>
                  <a:lnTo>
                    <a:pt x="0" y="45"/>
                  </a:lnTo>
                  <a:lnTo>
                    <a:pt x="3" y="48"/>
                  </a:lnTo>
                  <a:lnTo>
                    <a:pt x="5" y="50"/>
                  </a:lnTo>
                  <a:lnTo>
                    <a:pt x="7" y="50"/>
                  </a:lnTo>
                  <a:lnTo>
                    <a:pt x="10" y="52"/>
                  </a:lnTo>
                  <a:lnTo>
                    <a:pt x="12" y="52"/>
                  </a:lnTo>
                  <a:lnTo>
                    <a:pt x="14" y="50"/>
                  </a:lnTo>
                  <a:lnTo>
                    <a:pt x="17" y="50"/>
                  </a:lnTo>
                  <a:lnTo>
                    <a:pt x="19" y="48"/>
                  </a:lnTo>
                  <a:lnTo>
                    <a:pt x="21" y="48"/>
                  </a:lnTo>
                  <a:lnTo>
                    <a:pt x="24" y="48"/>
                  </a:lnTo>
                  <a:lnTo>
                    <a:pt x="26" y="48"/>
                  </a:lnTo>
                  <a:lnTo>
                    <a:pt x="26" y="50"/>
                  </a:lnTo>
                  <a:lnTo>
                    <a:pt x="26" y="52"/>
                  </a:lnTo>
                  <a:lnTo>
                    <a:pt x="28" y="52"/>
                  </a:lnTo>
                  <a:lnTo>
                    <a:pt x="31" y="52"/>
                  </a:lnTo>
                  <a:lnTo>
                    <a:pt x="33" y="55"/>
                  </a:lnTo>
                  <a:lnTo>
                    <a:pt x="33" y="52"/>
                  </a:lnTo>
                  <a:lnTo>
                    <a:pt x="36" y="48"/>
                  </a:lnTo>
                  <a:lnTo>
                    <a:pt x="38" y="43"/>
                  </a:lnTo>
                  <a:lnTo>
                    <a:pt x="38" y="38"/>
                  </a:lnTo>
                  <a:lnTo>
                    <a:pt x="40" y="36"/>
                  </a:lnTo>
                  <a:lnTo>
                    <a:pt x="40" y="33"/>
                  </a:lnTo>
                  <a:lnTo>
                    <a:pt x="43" y="33"/>
                  </a:lnTo>
                  <a:lnTo>
                    <a:pt x="45" y="33"/>
                  </a:lnTo>
                  <a:lnTo>
                    <a:pt x="47" y="33"/>
                  </a:lnTo>
                  <a:lnTo>
                    <a:pt x="50" y="36"/>
                  </a:lnTo>
                  <a:lnTo>
                    <a:pt x="52" y="36"/>
                  </a:lnTo>
                  <a:lnTo>
                    <a:pt x="54" y="33"/>
                  </a:lnTo>
                  <a:lnTo>
                    <a:pt x="54" y="31"/>
                  </a:lnTo>
                  <a:lnTo>
                    <a:pt x="57" y="31"/>
                  </a:lnTo>
                  <a:lnTo>
                    <a:pt x="59" y="29"/>
                  </a:lnTo>
                  <a:lnTo>
                    <a:pt x="62" y="29"/>
                  </a:lnTo>
                  <a:lnTo>
                    <a:pt x="62" y="26"/>
                  </a:lnTo>
                  <a:lnTo>
                    <a:pt x="59" y="24"/>
                  </a:lnTo>
                  <a:lnTo>
                    <a:pt x="59" y="22"/>
                  </a:lnTo>
                  <a:lnTo>
                    <a:pt x="62" y="22"/>
                  </a:lnTo>
                  <a:lnTo>
                    <a:pt x="64" y="22"/>
                  </a:lnTo>
                  <a:lnTo>
                    <a:pt x="64" y="19"/>
                  </a:lnTo>
                  <a:lnTo>
                    <a:pt x="64" y="17"/>
                  </a:lnTo>
                  <a:lnTo>
                    <a:pt x="64" y="15"/>
                  </a:lnTo>
                  <a:lnTo>
                    <a:pt x="64" y="10"/>
                  </a:lnTo>
                  <a:lnTo>
                    <a:pt x="62" y="7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latin typeface="Arial" charset="0"/>
              </a:endParaRPr>
            </a:p>
          </p:txBody>
        </p:sp>
        <p:sp>
          <p:nvSpPr>
            <p:cNvPr id="30" name="Freeform 1771"/>
            <p:cNvSpPr>
              <a:spLocks/>
            </p:cNvSpPr>
            <p:nvPr/>
          </p:nvSpPr>
          <p:spPr bwMode="gray">
            <a:xfrm>
              <a:off x="3458621" y="5186661"/>
              <a:ext cx="130621" cy="213739"/>
            </a:xfrm>
            <a:custGeom>
              <a:avLst/>
              <a:gdLst>
                <a:gd name="T0" fmla="*/ 0 w 11"/>
                <a:gd name="T1" fmla="*/ 17463 h 18"/>
                <a:gd name="T2" fmla="*/ 0 w 11"/>
                <a:gd name="T3" fmla="*/ 17463 h 18"/>
                <a:gd name="T4" fmla="*/ 0 w 11"/>
                <a:gd name="T5" fmla="*/ 14288 h 18"/>
                <a:gd name="T6" fmla="*/ 0 w 11"/>
                <a:gd name="T7" fmla="*/ 14288 h 18"/>
                <a:gd name="T8" fmla="*/ 0 w 11"/>
                <a:gd name="T9" fmla="*/ 11113 h 18"/>
                <a:gd name="T10" fmla="*/ 3175 w 11"/>
                <a:gd name="T11" fmla="*/ 6350 h 18"/>
                <a:gd name="T12" fmla="*/ 0 w 11"/>
                <a:gd name="T13" fmla="*/ 3175 h 18"/>
                <a:gd name="T14" fmla="*/ 0 w 11"/>
                <a:gd name="T15" fmla="*/ 3175 h 18"/>
                <a:gd name="T16" fmla="*/ 3175 w 11"/>
                <a:gd name="T17" fmla="*/ 3175 h 18"/>
                <a:gd name="T18" fmla="*/ 3175 w 11"/>
                <a:gd name="T19" fmla="*/ 0 h 18"/>
                <a:gd name="T20" fmla="*/ 6350 w 11"/>
                <a:gd name="T21" fmla="*/ 0 h 18"/>
                <a:gd name="T22" fmla="*/ 6350 w 11"/>
                <a:gd name="T23" fmla="*/ 0 h 18"/>
                <a:gd name="T24" fmla="*/ 6350 w 11"/>
                <a:gd name="T25" fmla="*/ 0 h 18"/>
                <a:gd name="T26" fmla="*/ 11113 w 11"/>
                <a:gd name="T27" fmla="*/ 3175 h 18"/>
                <a:gd name="T28" fmla="*/ 11113 w 11"/>
                <a:gd name="T29" fmla="*/ 6350 h 18"/>
                <a:gd name="T30" fmla="*/ 14288 w 11"/>
                <a:gd name="T31" fmla="*/ 11113 h 18"/>
                <a:gd name="T32" fmla="*/ 14288 w 11"/>
                <a:gd name="T33" fmla="*/ 11113 h 18"/>
                <a:gd name="T34" fmla="*/ 14288 w 11"/>
                <a:gd name="T35" fmla="*/ 11113 h 18"/>
                <a:gd name="T36" fmla="*/ 17463 w 11"/>
                <a:gd name="T37" fmla="*/ 11113 h 18"/>
                <a:gd name="T38" fmla="*/ 17463 w 11"/>
                <a:gd name="T39" fmla="*/ 11113 h 18"/>
                <a:gd name="T40" fmla="*/ 14288 w 11"/>
                <a:gd name="T41" fmla="*/ 17463 h 18"/>
                <a:gd name="T42" fmla="*/ 11113 w 11"/>
                <a:gd name="T43" fmla="*/ 17463 h 18"/>
                <a:gd name="T44" fmla="*/ 11113 w 11"/>
                <a:gd name="T45" fmla="*/ 22225 h 18"/>
                <a:gd name="T46" fmla="*/ 11113 w 11"/>
                <a:gd name="T47" fmla="*/ 25400 h 18"/>
                <a:gd name="T48" fmla="*/ 11113 w 11"/>
                <a:gd name="T49" fmla="*/ 25400 h 18"/>
                <a:gd name="T50" fmla="*/ 14288 w 11"/>
                <a:gd name="T51" fmla="*/ 28575 h 18"/>
                <a:gd name="T52" fmla="*/ 14288 w 11"/>
                <a:gd name="T53" fmla="*/ 28575 h 18"/>
                <a:gd name="T54" fmla="*/ 11113 w 11"/>
                <a:gd name="T55" fmla="*/ 28575 h 18"/>
                <a:gd name="T56" fmla="*/ 3175 w 11"/>
                <a:gd name="T57" fmla="*/ 28575 h 18"/>
                <a:gd name="T58" fmla="*/ 3175 w 11"/>
                <a:gd name="T59" fmla="*/ 25400 h 18"/>
                <a:gd name="T60" fmla="*/ 3175 w 11"/>
                <a:gd name="T61" fmla="*/ 25400 h 18"/>
                <a:gd name="T62" fmla="*/ 0 w 11"/>
                <a:gd name="T63" fmla="*/ 25400 h 18"/>
                <a:gd name="T64" fmla="*/ 0 w 11"/>
                <a:gd name="T65" fmla="*/ 22225 h 18"/>
                <a:gd name="T66" fmla="*/ 0 w 11"/>
                <a:gd name="T67" fmla="*/ 17463 h 18"/>
                <a:gd name="T68" fmla="*/ 0 w 11"/>
                <a:gd name="T69" fmla="*/ 17463 h 18"/>
                <a:gd name="T70" fmla="*/ 0 w 11"/>
                <a:gd name="T71" fmla="*/ 17463 h 18"/>
                <a:gd name="T72" fmla="*/ 0 w 11"/>
                <a:gd name="T73" fmla="*/ 17463 h 18"/>
                <a:gd name="T74" fmla="*/ 0 w 11"/>
                <a:gd name="T75" fmla="*/ 17463 h 1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"/>
                <a:gd name="T115" fmla="*/ 0 h 18"/>
                <a:gd name="T116" fmla="*/ 11 w 11"/>
                <a:gd name="T117" fmla="*/ 18 h 1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" h="18">
                  <a:moveTo>
                    <a:pt x="0" y="11"/>
                  </a:moveTo>
                  <a:lnTo>
                    <a:pt x="0" y="11"/>
                  </a:lnTo>
                  <a:lnTo>
                    <a:pt x="0" y="9"/>
                  </a:lnTo>
                  <a:lnTo>
                    <a:pt x="0" y="7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7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1" y="7"/>
                  </a:lnTo>
                  <a:lnTo>
                    <a:pt x="9" y="11"/>
                  </a:lnTo>
                  <a:lnTo>
                    <a:pt x="7" y="11"/>
                  </a:lnTo>
                  <a:lnTo>
                    <a:pt x="7" y="14"/>
                  </a:lnTo>
                  <a:lnTo>
                    <a:pt x="7" y="16"/>
                  </a:lnTo>
                  <a:lnTo>
                    <a:pt x="9" y="18"/>
                  </a:lnTo>
                  <a:lnTo>
                    <a:pt x="7" y="18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latin typeface="Arial" charset="0"/>
              </a:endParaRPr>
            </a:p>
          </p:txBody>
        </p:sp>
        <p:sp>
          <p:nvSpPr>
            <p:cNvPr id="31" name="Freeform 1802"/>
            <p:cNvSpPr>
              <a:spLocks/>
            </p:cNvSpPr>
            <p:nvPr/>
          </p:nvSpPr>
          <p:spPr bwMode="gray">
            <a:xfrm>
              <a:off x="454414" y="3642994"/>
              <a:ext cx="759957" cy="1151816"/>
            </a:xfrm>
            <a:custGeom>
              <a:avLst/>
              <a:gdLst>
                <a:gd name="T0" fmla="*/ 85725 w 64"/>
                <a:gd name="T1" fmla="*/ 6350 h 97"/>
                <a:gd name="T2" fmla="*/ 85725 w 64"/>
                <a:gd name="T3" fmla="*/ 3175 h 97"/>
                <a:gd name="T4" fmla="*/ 77788 w 64"/>
                <a:gd name="T5" fmla="*/ 0 h 97"/>
                <a:gd name="T6" fmla="*/ 71438 w 64"/>
                <a:gd name="T7" fmla="*/ 11113 h 97"/>
                <a:gd name="T8" fmla="*/ 66675 w 64"/>
                <a:gd name="T9" fmla="*/ 6350 h 97"/>
                <a:gd name="T10" fmla="*/ 55563 w 64"/>
                <a:gd name="T11" fmla="*/ 6350 h 97"/>
                <a:gd name="T12" fmla="*/ 52388 w 64"/>
                <a:gd name="T13" fmla="*/ 17463 h 97"/>
                <a:gd name="T14" fmla="*/ 49213 w 64"/>
                <a:gd name="T15" fmla="*/ 22225 h 97"/>
                <a:gd name="T16" fmla="*/ 55563 w 64"/>
                <a:gd name="T17" fmla="*/ 30163 h 97"/>
                <a:gd name="T18" fmla="*/ 41275 w 64"/>
                <a:gd name="T19" fmla="*/ 41275 h 97"/>
                <a:gd name="T20" fmla="*/ 36513 w 64"/>
                <a:gd name="T21" fmla="*/ 44450 h 97"/>
                <a:gd name="T22" fmla="*/ 30163 w 64"/>
                <a:gd name="T23" fmla="*/ 44450 h 97"/>
                <a:gd name="T24" fmla="*/ 22225 w 64"/>
                <a:gd name="T25" fmla="*/ 44450 h 97"/>
                <a:gd name="T26" fmla="*/ 14288 w 64"/>
                <a:gd name="T27" fmla="*/ 36513 h 97"/>
                <a:gd name="T28" fmla="*/ 19050 w 64"/>
                <a:gd name="T29" fmla="*/ 52388 h 97"/>
                <a:gd name="T30" fmla="*/ 22225 w 64"/>
                <a:gd name="T31" fmla="*/ 55563 h 97"/>
                <a:gd name="T32" fmla="*/ 22225 w 64"/>
                <a:gd name="T33" fmla="*/ 63500 h 97"/>
                <a:gd name="T34" fmla="*/ 7938 w 64"/>
                <a:gd name="T35" fmla="*/ 63500 h 97"/>
                <a:gd name="T36" fmla="*/ 7938 w 64"/>
                <a:gd name="T37" fmla="*/ 71438 h 97"/>
                <a:gd name="T38" fmla="*/ 3175 w 64"/>
                <a:gd name="T39" fmla="*/ 71438 h 97"/>
                <a:gd name="T40" fmla="*/ 14288 w 64"/>
                <a:gd name="T41" fmla="*/ 85725 h 97"/>
                <a:gd name="T42" fmla="*/ 30163 w 64"/>
                <a:gd name="T43" fmla="*/ 85725 h 97"/>
                <a:gd name="T44" fmla="*/ 14288 w 64"/>
                <a:gd name="T45" fmla="*/ 115888 h 97"/>
                <a:gd name="T46" fmla="*/ 0 w 64"/>
                <a:gd name="T47" fmla="*/ 130175 h 97"/>
                <a:gd name="T48" fmla="*/ 7938 w 64"/>
                <a:gd name="T49" fmla="*/ 146050 h 97"/>
                <a:gd name="T50" fmla="*/ 11113 w 64"/>
                <a:gd name="T51" fmla="*/ 146050 h 97"/>
                <a:gd name="T52" fmla="*/ 14288 w 64"/>
                <a:gd name="T53" fmla="*/ 149225 h 97"/>
                <a:gd name="T54" fmla="*/ 19050 w 64"/>
                <a:gd name="T55" fmla="*/ 149225 h 97"/>
                <a:gd name="T56" fmla="*/ 22225 w 64"/>
                <a:gd name="T57" fmla="*/ 149225 h 97"/>
                <a:gd name="T58" fmla="*/ 25400 w 64"/>
                <a:gd name="T59" fmla="*/ 146050 h 97"/>
                <a:gd name="T60" fmla="*/ 33338 w 64"/>
                <a:gd name="T61" fmla="*/ 149225 h 97"/>
                <a:gd name="T62" fmla="*/ 36513 w 64"/>
                <a:gd name="T63" fmla="*/ 153988 h 97"/>
                <a:gd name="T64" fmla="*/ 44450 w 64"/>
                <a:gd name="T65" fmla="*/ 149225 h 97"/>
                <a:gd name="T66" fmla="*/ 63500 w 64"/>
                <a:gd name="T67" fmla="*/ 138113 h 97"/>
                <a:gd name="T68" fmla="*/ 71438 w 64"/>
                <a:gd name="T69" fmla="*/ 127000 h 97"/>
                <a:gd name="T70" fmla="*/ 82550 w 64"/>
                <a:gd name="T71" fmla="*/ 119063 h 97"/>
                <a:gd name="T72" fmla="*/ 85725 w 64"/>
                <a:gd name="T73" fmla="*/ 119063 h 97"/>
                <a:gd name="T74" fmla="*/ 90488 w 64"/>
                <a:gd name="T75" fmla="*/ 123825 h 97"/>
                <a:gd name="T76" fmla="*/ 93663 w 64"/>
                <a:gd name="T77" fmla="*/ 123825 h 97"/>
                <a:gd name="T78" fmla="*/ 93663 w 64"/>
                <a:gd name="T79" fmla="*/ 119063 h 97"/>
                <a:gd name="T80" fmla="*/ 90488 w 64"/>
                <a:gd name="T81" fmla="*/ 115888 h 97"/>
                <a:gd name="T82" fmla="*/ 90488 w 64"/>
                <a:gd name="T83" fmla="*/ 115888 h 97"/>
                <a:gd name="T84" fmla="*/ 93663 w 64"/>
                <a:gd name="T85" fmla="*/ 112713 h 97"/>
                <a:gd name="T86" fmla="*/ 96838 w 64"/>
                <a:gd name="T87" fmla="*/ 104775 h 97"/>
                <a:gd name="T88" fmla="*/ 96838 w 64"/>
                <a:gd name="T89" fmla="*/ 96838 h 97"/>
                <a:gd name="T90" fmla="*/ 90488 w 64"/>
                <a:gd name="T91" fmla="*/ 77788 h 97"/>
                <a:gd name="T92" fmla="*/ 93663 w 64"/>
                <a:gd name="T93" fmla="*/ 55563 h 97"/>
                <a:gd name="T94" fmla="*/ 82550 w 64"/>
                <a:gd name="T95" fmla="*/ 47625 h 97"/>
                <a:gd name="T96" fmla="*/ 74613 w 64"/>
                <a:gd name="T97" fmla="*/ 52388 h 97"/>
                <a:gd name="T98" fmla="*/ 71438 w 64"/>
                <a:gd name="T99" fmla="*/ 52388 h 97"/>
                <a:gd name="T100" fmla="*/ 71438 w 64"/>
                <a:gd name="T101" fmla="*/ 44450 h 97"/>
                <a:gd name="T102" fmla="*/ 66675 w 64"/>
                <a:gd name="T103" fmla="*/ 41275 h 97"/>
                <a:gd name="T104" fmla="*/ 63500 w 64"/>
                <a:gd name="T105" fmla="*/ 41275 h 97"/>
                <a:gd name="T106" fmla="*/ 63500 w 64"/>
                <a:gd name="T107" fmla="*/ 41275 h 97"/>
                <a:gd name="T108" fmla="*/ 63500 w 64"/>
                <a:gd name="T109" fmla="*/ 33338 h 97"/>
                <a:gd name="T110" fmla="*/ 63500 w 64"/>
                <a:gd name="T111" fmla="*/ 33338 h 97"/>
                <a:gd name="T112" fmla="*/ 66675 w 64"/>
                <a:gd name="T113" fmla="*/ 30163 h 97"/>
                <a:gd name="T114" fmla="*/ 71438 w 64"/>
                <a:gd name="T115" fmla="*/ 30163 h 97"/>
                <a:gd name="T116" fmla="*/ 71438 w 64"/>
                <a:gd name="T117" fmla="*/ 25400 h 97"/>
                <a:gd name="T118" fmla="*/ 71438 w 64"/>
                <a:gd name="T119" fmla="*/ 22225 h 97"/>
                <a:gd name="T120" fmla="*/ 77788 w 64"/>
                <a:gd name="T121" fmla="*/ 14288 h 97"/>
                <a:gd name="T122" fmla="*/ 85725 w 64"/>
                <a:gd name="T123" fmla="*/ 11113 h 9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4"/>
                <a:gd name="T187" fmla="*/ 0 h 97"/>
                <a:gd name="T188" fmla="*/ 64 w 64"/>
                <a:gd name="T189" fmla="*/ 97 h 9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4" h="97">
                  <a:moveTo>
                    <a:pt x="54" y="7"/>
                  </a:moveTo>
                  <a:lnTo>
                    <a:pt x="54" y="7"/>
                  </a:lnTo>
                  <a:lnTo>
                    <a:pt x="54" y="4"/>
                  </a:lnTo>
                  <a:lnTo>
                    <a:pt x="54" y="2"/>
                  </a:lnTo>
                  <a:lnTo>
                    <a:pt x="52" y="0"/>
                  </a:lnTo>
                  <a:lnTo>
                    <a:pt x="49" y="0"/>
                  </a:lnTo>
                  <a:lnTo>
                    <a:pt x="45" y="7"/>
                  </a:lnTo>
                  <a:lnTo>
                    <a:pt x="42" y="4"/>
                  </a:lnTo>
                  <a:lnTo>
                    <a:pt x="38" y="4"/>
                  </a:lnTo>
                  <a:lnTo>
                    <a:pt x="35" y="4"/>
                  </a:lnTo>
                  <a:lnTo>
                    <a:pt x="35" y="7"/>
                  </a:lnTo>
                  <a:lnTo>
                    <a:pt x="35" y="11"/>
                  </a:lnTo>
                  <a:lnTo>
                    <a:pt x="33" y="11"/>
                  </a:lnTo>
                  <a:lnTo>
                    <a:pt x="31" y="14"/>
                  </a:lnTo>
                  <a:lnTo>
                    <a:pt x="35" y="14"/>
                  </a:lnTo>
                  <a:lnTo>
                    <a:pt x="35" y="19"/>
                  </a:lnTo>
                  <a:lnTo>
                    <a:pt x="31" y="19"/>
                  </a:lnTo>
                  <a:lnTo>
                    <a:pt x="28" y="21"/>
                  </a:lnTo>
                  <a:lnTo>
                    <a:pt x="26" y="26"/>
                  </a:lnTo>
                  <a:lnTo>
                    <a:pt x="26" y="28"/>
                  </a:lnTo>
                  <a:lnTo>
                    <a:pt x="23" y="28"/>
                  </a:lnTo>
                  <a:lnTo>
                    <a:pt x="21" y="28"/>
                  </a:lnTo>
                  <a:lnTo>
                    <a:pt x="19" y="28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9" y="23"/>
                  </a:lnTo>
                  <a:lnTo>
                    <a:pt x="9" y="28"/>
                  </a:lnTo>
                  <a:lnTo>
                    <a:pt x="9" y="33"/>
                  </a:lnTo>
                  <a:lnTo>
                    <a:pt x="12" y="33"/>
                  </a:lnTo>
                  <a:lnTo>
                    <a:pt x="14" y="33"/>
                  </a:lnTo>
                  <a:lnTo>
                    <a:pt x="14" y="35"/>
                  </a:lnTo>
                  <a:lnTo>
                    <a:pt x="14" y="37"/>
                  </a:lnTo>
                  <a:lnTo>
                    <a:pt x="14" y="40"/>
                  </a:lnTo>
                  <a:lnTo>
                    <a:pt x="9" y="40"/>
                  </a:lnTo>
                  <a:lnTo>
                    <a:pt x="5" y="40"/>
                  </a:lnTo>
                  <a:lnTo>
                    <a:pt x="5" y="42"/>
                  </a:lnTo>
                  <a:lnTo>
                    <a:pt x="5" y="45"/>
                  </a:lnTo>
                  <a:lnTo>
                    <a:pt x="2" y="45"/>
                  </a:lnTo>
                  <a:lnTo>
                    <a:pt x="5" y="49"/>
                  </a:lnTo>
                  <a:lnTo>
                    <a:pt x="7" y="54"/>
                  </a:lnTo>
                  <a:lnTo>
                    <a:pt x="9" y="54"/>
                  </a:lnTo>
                  <a:lnTo>
                    <a:pt x="12" y="54"/>
                  </a:lnTo>
                  <a:lnTo>
                    <a:pt x="16" y="54"/>
                  </a:lnTo>
                  <a:lnTo>
                    <a:pt x="19" y="54"/>
                  </a:lnTo>
                  <a:lnTo>
                    <a:pt x="16" y="61"/>
                  </a:lnTo>
                  <a:lnTo>
                    <a:pt x="14" y="68"/>
                  </a:lnTo>
                  <a:lnTo>
                    <a:pt x="9" y="73"/>
                  </a:lnTo>
                  <a:lnTo>
                    <a:pt x="7" y="82"/>
                  </a:lnTo>
                  <a:lnTo>
                    <a:pt x="2" y="82"/>
                  </a:lnTo>
                  <a:lnTo>
                    <a:pt x="0" y="82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7" y="92"/>
                  </a:lnTo>
                  <a:lnTo>
                    <a:pt x="9" y="92"/>
                  </a:lnTo>
                  <a:lnTo>
                    <a:pt x="9" y="94"/>
                  </a:lnTo>
                  <a:lnTo>
                    <a:pt x="7" y="97"/>
                  </a:lnTo>
                  <a:lnTo>
                    <a:pt x="12" y="97"/>
                  </a:lnTo>
                  <a:lnTo>
                    <a:pt x="12" y="94"/>
                  </a:lnTo>
                  <a:lnTo>
                    <a:pt x="14" y="94"/>
                  </a:lnTo>
                  <a:lnTo>
                    <a:pt x="16" y="94"/>
                  </a:lnTo>
                  <a:lnTo>
                    <a:pt x="16" y="92"/>
                  </a:lnTo>
                  <a:lnTo>
                    <a:pt x="19" y="92"/>
                  </a:lnTo>
                  <a:lnTo>
                    <a:pt x="21" y="94"/>
                  </a:lnTo>
                  <a:lnTo>
                    <a:pt x="21" y="97"/>
                  </a:lnTo>
                  <a:lnTo>
                    <a:pt x="23" y="97"/>
                  </a:lnTo>
                  <a:lnTo>
                    <a:pt x="28" y="97"/>
                  </a:lnTo>
                  <a:lnTo>
                    <a:pt x="28" y="94"/>
                  </a:lnTo>
                  <a:lnTo>
                    <a:pt x="31" y="92"/>
                  </a:lnTo>
                  <a:lnTo>
                    <a:pt x="35" y="87"/>
                  </a:lnTo>
                  <a:lnTo>
                    <a:pt x="40" y="87"/>
                  </a:lnTo>
                  <a:lnTo>
                    <a:pt x="45" y="87"/>
                  </a:lnTo>
                  <a:lnTo>
                    <a:pt x="45" y="85"/>
                  </a:lnTo>
                  <a:lnTo>
                    <a:pt x="45" y="80"/>
                  </a:lnTo>
                  <a:lnTo>
                    <a:pt x="47" y="80"/>
                  </a:lnTo>
                  <a:lnTo>
                    <a:pt x="52" y="80"/>
                  </a:lnTo>
                  <a:lnTo>
                    <a:pt x="52" y="75"/>
                  </a:lnTo>
                  <a:lnTo>
                    <a:pt x="54" y="75"/>
                  </a:lnTo>
                  <a:lnTo>
                    <a:pt x="54" y="78"/>
                  </a:lnTo>
                  <a:lnTo>
                    <a:pt x="57" y="78"/>
                  </a:lnTo>
                  <a:lnTo>
                    <a:pt x="59" y="78"/>
                  </a:lnTo>
                  <a:lnTo>
                    <a:pt x="59" y="75"/>
                  </a:lnTo>
                  <a:lnTo>
                    <a:pt x="57" y="75"/>
                  </a:lnTo>
                  <a:lnTo>
                    <a:pt x="57" y="73"/>
                  </a:lnTo>
                  <a:lnTo>
                    <a:pt x="59" y="71"/>
                  </a:lnTo>
                  <a:lnTo>
                    <a:pt x="61" y="68"/>
                  </a:lnTo>
                  <a:lnTo>
                    <a:pt x="61" y="66"/>
                  </a:lnTo>
                  <a:lnTo>
                    <a:pt x="61" y="63"/>
                  </a:lnTo>
                  <a:lnTo>
                    <a:pt x="61" y="61"/>
                  </a:lnTo>
                  <a:lnTo>
                    <a:pt x="59" y="56"/>
                  </a:lnTo>
                  <a:lnTo>
                    <a:pt x="57" y="49"/>
                  </a:lnTo>
                  <a:lnTo>
                    <a:pt x="59" y="45"/>
                  </a:lnTo>
                  <a:lnTo>
                    <a:pt x="59" y="40"/>
                  </a:lnTo>
                  <a:lnTo>
                    <a:pt x="59" y="35"/>
                  </a:lnTo>
                  <a:lnTo>
                    <a:pt x="64" y="30"/>
                  </a:lnTo>
                  <a:lnTo>
                    <a:pt x="57" y="33"/>
                  </a:lnTo>
                  <a:lnTo>
                    <a:pt x="52" y="30"/>
                  </a:lnTo>
                  <a:lnTo>
                    <a:pt x="49" y="30"/>
                  </a:lnTo>
                  <a:lnTo>
                    <a:pt x="47" y="33"/>
                  </a:lnTo>
                  <a:lnTo>
                    <a:pt x="45" y="33"/>
                  </a:lnTo>
                  <a:lnTo>
                    <a:pt x="45" y="30"/>
                  </a:lnTo>
                  <a:lnTo>
                    <a:pt x="45" y="28"/>
                  </a:lnTo>
                  <a:lnTo>
                    <a:pt x="42" y="26"/>
                  </a:lnTo>
                  <a:lnTo>
                    <a:pt x="40" y="26"/>
                  </a:lnTo>
                  <a:lnTo>
                    <a:pt x="40" y="23"/>
                  </a:lnTo>
                  <a:lnTo>
                    <a:pt x="40" y="21"/>
                  </a:lnTo>
                  <a:lnTo>
                    <a:pt x="42" y="19"/>
                  </a:lnTo>
                  <a:lnTo>
                    <a:pt x="45" y="19"/>
                  </a:lnTo>
                  <a:lnTo>
                    <a:pt x="45" y="16"/>
                  </a:lnTo>
                  <a:lnTo>
                    <a:pt x="45" y="14"/>
                  </a:lnTo>
                  <a:lnTo>
                    <a:pt x="47" y="11"/>
                  </a:lnTo>
                  <a:lnTo>
                    <a:pt x="49" y="9"/>
                  </a:lnTo>
                  <a:lnTo>
                    <a:pt x="52" y="7"/>
                  </a:lnTo>
                  <a:lnTo>
                    <a:pt x="54" y="7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latin typeface="Arial" charset="0"/>
              </a:endParaRPr>
            </a:p>
          </p:txBody>
        </p:sp>
        <p:sp>
          <p:nvSpPr>
            <p:cNvPr id="32" name="Freeform 1803"/>
            <p:cNvSpPr>
              <a:spLocks/>
            </p:cNvSpPr>
            <p:nvPr/>
          </p:nvSpPr>
          <p:spPr bwMode="gray">
            <a:xfrm>
              <a:off x="680030" y="4201093"/>
              <a:ext cx="47497" cy="83124"/>
            </a:xfrm>
            <a:custGeom>
              <a:avLst/>
              <a:gdLst>
                <a:gd name="T0" fmla="*/ 3175 w 4"/>
                <a:gd name="T1" fmla="*/ 3175 h 7"/>
                <a:gd name="T2" fmla="*/ 6350 w 4"/>
                <a:gd name="T3" fmla="*/ 3175 h 7"/>
                <a:gd name="T4" fmla="*/ 6350 w 4"/>
                <a:gd name="T5" fmla="*/ 3175 h 7"/>
                <a:gd name="T6" fmla="*/ 6350 w 4"/>
                <a:gd name="T7" fmla="*/ 7938 h 7"/>
                <a:gd name="T8" fmla="*/ 3175 w 4"/>
                <a:gd name="T9" fmla="*/ 7938 h 7"/>
                <a:gd name="T10" fmla="*/ 3175 w 4"/>
                <a:gd name="T11" fmla="*/ 7938 h 7"/>
                <a:gd name="T12" fmla="*/ 0 w 4"/>
                <a:gd name="T13" fmla="*/ 11113 h 7"/>
                <a:gd name="T14" fmla="*/ 0 w 4"/>
                <a:gd name="T15" fmla="*/ 7938 h 7"/>
                <a:gd name="T16" fmla="*/ 0 w 4"/>
                <a:gd name="T17" fmla="*/ 3175 h 7"/>
                <a:gd name="T18" fmla="*/ 0 w 4"/>
                <a:gd name="T19" fmla="*/ 3175 h 7"/>
                <a:gd name="T20" fmla="*/ 3175 w 4"/>
                <a:gd name="T21" fmla="*/ 3175 h 7"/>
                <a:gd name="T22" fmla="*/ 3175 w 4"/>
                <a:gd name="T23" fmla="*/ 0 h 7"/>
                <a:gd name="T24" fmla="*/ 3175 w 4"/>
                <a:gd name="T25" fmla="*/ 3175 h 7"/>
                <a:gd name="T26" fmla="*/ 3175 w 4"/>
                <a:gd name="T27" fmla="*/ 3175 h 7"/>
                <a:gd name="T28" fmla="*/ 3175 w 4"/>
                <a:gd name="T29" fmla="*/ 3175 h 7"/>
                <a:gd name="T30" fmla="*/ 3175 w 4"/>
                <a:gd name="T31" fmla="*/ 3175 h 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"/>
                <a:gd name="T49" fmla="*/ 0 h 7"/>
                <a:gd name="T50" fmla="*/ 4 w 4"/>
                <a:gd name="T51" fmla="*/ 7 h 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" h="7">
                  <a:moveTo>
                    <a:pt x="2" y="2"/>
                  </a:moveTo>
                  <a:lnTo>
                    <a:pt x="4" y="2"/>
                  </a:lnTo>
                  <a:lnTo>
                    <a:pt x="4" y="5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5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latin typeface="Arial" charset="0"/>
              </a:endParaRPr>
            </a:p>
          </p:txBody>
        </p:sp>
        <p:sp>
          <p:nvSpPr>
            <p:cNvPr id="33" name="Freeform 1804"/>
            <p:cNvSpPr>
              <a:spLocks/>
            </p:cNvSpPr>
            <p:nvPr/>
          </p:nvSpPr>
          <p:spPr bwMode="gray">
            <a:xfrm>
              <a:off x="644403" y="4426702"/>
              <a:ext cx="59375" cy="59376"/>
            </a:xfrm>
            <a:custGeom>
              <a:avLst/>
              <a:gdLst>
                <a:gd name="T0" fmla="*/ 7938 w 5"/>
                <a:gd name="T1" fmla="*/ 0 h 5"/>
                <a:gd name="T2" fmla="*/ 7938 w 5"/>
                <a:gd name="T3" fmla="*/ 7938 h 5"/>
                <a:gd name="T4" fmla="*/ 4763 w 5"/>
                <a:gd name="T5" fmla="*/ 7938 h 5"/>
                <a:gd name="T6" fmla="*/ 4763 w 5"/>
                <a:gd name="T7" fmla="*/ 7938 h 5"/>
                <a:gd name="T8" fmla="*/ 4763 w 5"/>
                <a:gd name="T9" fmla="*/ 7938 h 5"/>
                <a:gd name="T10" fmla="*/ 4763 w 5"/>
                <a:gd name="T11" fmla="*/ 7938 h 5"/>
                <a:gd name="T12" fmla="*/ 0 w 5"/>
                <a:gd name="T13" fmla="*/ 3175 h 5"/>
                <a:gd name="T14" fmla="*/ 4763 w 5"/>
                <a:gd name="T15" fmla="*/ 3175 h 5"/>
                <a:gd name="T16" fmla="*/ 4763 w 5"/>
                <a:gd name="T17" fmla="*/ 3175 h 5"/>
                <a:gd name="T18" fmla="*/ 4763 w 5"/>
                <a:gd name="T19" fmla="*/ 0 h 5"/>
                <a:gd name="T20" fmla="*/ 7938 w 5"/>
                <a:gd name="T21" fmla="*/ 0 h 5"/>
                <a:gd name="T22" fmla="*/ 7938 w 5"/>
                <a:gd name="T23" fmla="*/ 0 h 5"/>
                <a:gd name="T24" fmla="*/ 7938 w 5"/>
                <a:gd name="T25" fmla="*/ 0 h 5"/>
                <a:gd name="T26" fmla="*/ 7938 w 5"/>
                <a:gd name="T27" fmla="*/ 0 h 5"/>
                <a:gd name="T28" fmla="*/ 7938 w 5"/>
                <a:gd name="T29" fmla="*/ 0 h 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"/>
                <a:gd name="T46" fmla="*/ 0 h 5"/>
                <a:gd name="T47" fmla="*/ 5 w 5"/>
                <a:gd name="T48" fmla="*/ 5 h 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" h="5">
                  <a:moveTo>
                    <a:pt x="5" y="0"/>
                  </a:moveTo>
                  <a:lnTo>
                    <a:pt x="5" y="5"/>
                  </a:lnTo>
                  <a:lnTo>
                    <a:pt x="3" y="5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latin typeface="Arial" charset="0"/>
              </a:endParaRPr>
            </a:p>
          </p:txBody>
        </p:sp>
        <p:sp>
          <p:nvSpPr>
            <p:cNvPr id="34" name="Freeform 1884"/>
            <p:cNvSpPr>
              <a:spLocks/>
            </p:cNvSpPr>
            <p:nvPr/>
          </p:nvSpPr>
          <p:spPr bwMode="gray">
            <a:xfrm>
              <a:off x="3422995" y="3773616"/>
              <a:ext cx="1686154" cy="2196761"/>
            </a:xfrm>
            <a:custGeom>
              <a:avLst/>
              <a:gdLst>
                <a:gd name="T0" fmla="*/ 49213 w 142"/>
                <a:gd name="T1" fmla="*/ 101600 h 185"/>
                <a:gd name="T2" fmla="*/ 41275 w 142"/>
                <a:gd name="T3" fmla="*/ 106363 h 185"/>
                <a:gd name="T4" fmla="*/ 46038 w 142"/>
                <a:gd name="T5" fmla="*/ 112713 h 185"/>
                <a:gd name="T6" fmla="*/ 38100 w 142"/>
                <a:gd name="T7" fmla="*/ 120650 h 185"/>
                <a:gd name="T8" fmla="*/ 26988 w 142"/>
                <a:gd name="T9" fmla="*/ 128588 h 185"/>
                <a:gd name="T10" fmla="*/ 11113 w 142"/>
                <a:gd name="T11" fmla="*/ 128588 h 185"/>
                <a:gd name="T12" fmla="*/ 0 w 142"/>
                <a:gd name="T13" fmla="*/ 158750 h 185"/>
                <a:gd name="T14" fmla="*/ 11113 w 142"/>
                <a:gd name="T15" fmla="*/ 165100 h 185"/>
                <a:gd name="T16" fmla="*/ 7938 w 142"/>
                <a:gd name="T17" fmla="*/ 169863 h 185"/>
                <a:gd name="T18" fmla="*/ 11113 w 142"/>
                <a:gd name="T19" fmla="*/ 173038 h 185"/>
                <a:gd name="T20" fmla="*/ 11113 w 142"/>
                <a:gd name="T21" fmla="*/ 188913 h 185"/>
                <a:gd name="T22" fmla="*/ 19050 w 142"/>
                <a:gd name="T23" fmla="*/ 200025 h 185"/>
                <a:gd name="T24" fmla="*/ 15875 w 142"/>
                <a:gd name="T25" fmla="*/ 214313 h 185"/>
                <a:gd name="T26" fmla="*/ 30163 w 142"/>
                <a:gd name="T27" fmla="*/ 217488 h 185"/>
                <a:gd name="T28" fmla="*/ 41275 w 142"/>
                <a:gd name="T29" fmla="*/ 225425 h 185"/>
                <a:gd name="T30" fmla="*/ 60325 w 142"/>
                <a:gd name="T31" fmla="*/ 230188 h 185"/>
                <a:gd name="T32" fmla="*/ 63500 w 142"/>
                <a:gd name="T33" fmla="*/ 241300 h 185"/>
                <a:gd name="T34" fmla="*/ 60325 w 142"/>
                <a:gd name="T35" fmla="*/ 263525 h 185"/>
                <a:gd name="T36" fmla="*/ 68263 w 142"/>
                <a:gd name="T37" fmla="*/ 282575 h 185"/>
                <a:gd name="T38" fmla="*/ 82550 w 142"/>
                <a:gd name="T39" fmla="*/ 274638 h 185"/>
                <a:gd name="T40" fmla="*/ 120650 w 142"/>
                <a:gd name="T41" fmla="*/ 285750 h 185"/>
                <a:gd name="T42" fmla="*/ 139700 w 142"/>
                <a:gd name="T43" fmla="*/ 277813 h 185"/>
                <a:gd name="T44" fmla="*/ 150813 w 142"/>
                <a:gd name="T45" fmla="*/ 271463 h 185"/>
                <a:gd name="T46" fmla="*/ 173038 w 142"/>
                <a:gd name="T47" fmla="*/ 274638 h 185"/>
                <a:gd name="T48" fmla="*/ 184150 w 142"/>
                <a:gd name="T49" fmla="*/ 282575 h 185"/>
                <a:gd name="T50" fmla="*/ 180975 w 142"/>
                <a:gd name="T51" fmla="*/ 263525 h 185"/>
                <a:gd name="T52" fmla="*/ 184150 w 142"/>
                <a:gd name="T53" fmla="*/ 255588 h 185"/>
                <a:gd name="T54" fmla="*/ 195263 w 142"/>
                <a:gd name="T55" fmla="*/ 244475 h 185"/>
                <a:gd name="T56" fmla="*/ 203200 w 142"/>
                <a:gd name="T57" fmla="*/ 233363 h 185"/>
                <a:gd name="T58" fmla="*/ 187325 w 142"/>
                <a:gd name="T59" fmla="*/ 222250 h 185"/>
                <a:gd name="T60" fmla="*/ 180975 w 142"/>
                <a:gd name="T61" fmla="*/ 206375 h 185"/>
                <a:gd name="T62" fmla="*/ 169863 w 142"/>
                <a:gd name="T63" fmla="*/ 184150 h 185"/>
                <a:gd name="T64" fmla="*/ 169863 w 142"/>
                <a:gd name="T65" fmla="*/ 173038 h 185"/>
                <a:gd name="T66" fmla="*/ 184150 w 142"/>
                <a:gd name="T67" fmla="*/ 169863 h 185"/>
                <a:gd name="T68" fmla="*/ 198438 w 142"/>
                <a:gd name="T69" fmla="*/ 158750 h 185"/>
                <a:gd name="T70" fmla="*/ 225425 w 142"/>
                <a:gd name="T71" fmla="*/ 128588 h 185"/>
                <a:gd name="T72" fmla="*/ 222250 w 142"/>
                <a:gd name="T73" fmla="*/ 90488 h 185"/>
                <a:gd name="T74" fmla="*/ 214313 w 142"/>
                <a:gd name="T75" fmla="*/ 71438 h 185"/>
                <a:gd name="T76" fmla="*/ 217488 w 142"/>
                <a:gd name="T77" fmla="*/ 49213 h 185"/>
                <a:gd name="T78" fmla="*/ 192088 w 142"/>
                <a:gd name="T79" fmla="*/ 30163 h 185"/>
                <a:gd name="T80" fmla="*/ 161925 w 142"/>
                <a:gd name="T81" fmla="*/ 41275 h 185"/>
                <a:gd name="T82" fmla="*/ 150813 w 142"/>
                <a:gd name="T83" fmla="*/ 49213 h 185"/>
                <a:gd name="T84" fmla="*/ 128588 w 142"/>
                <a:gd name="T85" fmla="*/ 38100 h 185"/>
                <a:gd name="T86" fmla="*/ 112713 w 142"/>
                <a:gd name="T87" fmla="*/ 23813 h 185"/>
                <a:gd name="T88" fmla="*/ 101600 w 142"/>
                <a:gd name="T89" fmla="*/ 4763 h 185"/>
                <a:gd name="T90" fmla="*/ 74613 w 142"/>
                <a:gd name="T91" fmla="*/ 12700 h 185"/>
                <a:gd name="T92" fmla="*/ 87313 w 142"/>
                <a:gd name="T93" fmla="*/ 38100 h 185"/>
                <a:gd name="T94" fmla="*/ 87313 w 142"/>
                <a:gd name="T95" fmla="*/ 60325 h 185"/>
                <a:gd name="T96" fmla="*/ 82550 w 142"/>
                <a:gd name="T97" fmla="*/ 57150 h 185"/>
                <a:gd name="T98" fmla="*/ 71438 w 142"/>
                <a:gd name="T99" fmla="*/ 68263 h 185"/>
                <a:gd name="T100" fmla="*/ 57150 w 142"/>
                <a:gd name="T101" fmla="*/ 68263 h 185"/>
                <a:gd name="T102" fmla="*/ 46038 w 142"/>
                <a:gd name="T103" fmla="*/ 79375 h 185"/>
                <a:gd name="T104" fmla="*/ 49213 w 142"/>
                <a:gd name="T105" fmla="*/ 82550 h 1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2"/>
                <a:gd name="T160" fmla="*/ 0 h 185"/>
                <a:gd name="T161" fmla="*/ 142 w 142"/>
                <a:gd name="T162" fmla="*/ 185 h 1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2" h="185">
                  <a:moveTo>
                    <a:pt x="29" y="52"/>
                  </a:moveTo>
                  <a:lnTo>
                    <a:pt x="31" y="55"/>
                  </a:lnTo>
                  <a:lnTo>
                    <a:pt x="31" y="60"/>
                  </a:lnTo>
                  <a:lnTo>
                    <a:pt x="31" y="62"/>
                  </a:lnTo>
                  <a:lnTo>
                    <a:pt x="31" y="64"/>
                  </a:lnTo>
                  <a:lnTo>
                    <a:pt x="31" y="67"/>
                  </a:lnTo>
                  <a:lnTo>
                    <a:pt x="29" y="67"/>
                  </a:lnTo>
                  <a:lnTo>
                    <a:pt x="26" y="67"/>
                  </a:lnTo>
                  <a:lnTo>
                    <a:pt x="26" y="69"/>
                  </a:lnTo>
                  <a:lnTo>
                    <a:pt x="29" y="71"/>
                  </a:lnTo>
                  <a:lnTo>
                    <a:pt x="29" y="74"/>
                  </a:lnTo>
                  <a:lnTo>
                    <a:pt x="26" y="74"/>
                  </a:lnTo>
                  <a:lnTo>
                    <a:pt x="24" y="76"/>
                  </a:lnTo>
                  <a:lnTo>
                    <a:pt x="21" y="76"/>
                  </a:lnTo>
                  <a:lnTo>
                    <a:pt x="21" y="78"/>
                  </a:lnTo>
                  <a:lnTo>
                    <a:pt x="19" y="81"/>
                  </a:lnTo>
                  <a:lnTo>
                    <a:pt x="17" y="81"/>
                  </a:lnTo>
                  <a:lnTo>
                    <a:pt x="14" y="78"/>
                  </a:lnTo>
                  <a:lnTo>
                    <a:pt x="12" y="78"/>
                  </a:lnTo>
                  <a:lnTo>
                    <a:pt x="10" y="78"/>
                  </a:lnTo>
                  <a:lnTo>
                    <a:pt x="7" y="78"/>
                  </a:lnTo>
                  <a:lnTo>
                    <a:pt x="7" y="81"/>
                  </a:lnTo>
                  <a:lnTo>
                    <a:pt x="5" y="83"/>
                  </a:lnTo>
                  <a:lnTo>
                    <a:pt x="5" y="88"/>
                  </a:lnTo>
                  <a:lnTo>
                    <a:pt x="3" y="93"/>
                  </a:lnTo>
                  <a:lnTo>
                    <a:pt x="0" y="97"/>
                  </a:lnTo>
                  <a:lnTo>
                    <a:pt x="0" y="100"/>
                  </a:lnTo>
                  <a:lnTo>
                    <a:pt x="3" y="102"/>
                  </a:lnTo>
                  <a:lnTo>
                    <a:pt x="5" y="102"/>
                  </a:lnTo>
                  <a:lnTo>
                    <a:pt x="7" y="102"/>
                  </a:lnTo>
                  <a:lnTo>
                    <a:pt x="7" y="104"/>
                  </a:lnTo>
                  <a:lnTo>
                    <a:pt x="5" y="104"/>
                  </a:lnTo>
                  <a:lnTo>
                    <a:pt x="5" y="107"/>
                  </a:lnTo>
                  <a:lnTo>
                    <a:pt x="7" y="109"/>
                  </a:lnTo>
                  <a:lnTo>
                    <a:pt x="10" y="112"/>
                  </a:lnTo>
                  <a:lnTo>
                    <a:pt x="10" y="114"/>
                  </a:lnTo>
                  <a:lnTo>
                    <a:pt x="7" y="119"/>
                  </a:lnTo>
                  <a:lnTo>
                    <a:pt x="10" y="121"/>
                  </a:lnTo>
                  <a:lnTo>
                    <a:pt x="10" y="123"/>
                  </a:lnTo>
                  <a:lnTo>
                    <a:pt x="12" y="126"/>
                  </a:lnTo>
                  <a:lnTo>
                    <a:pt x="14" y="126"/>
                  </a:lnTo>
                  <a:lnTo>
                    <a:pt x="12" y="130"/>
                  </a:lnTo>
                  <a:lnTo>
                    <a:pt x="12" y="133"/>
                  </a:lnTo>
                  <a:lnTo>
                    <a:pt x="10" y="133"/>
                  </a:lnTo>
                  <a:lnTo>
                    <a:pt x="10" y="135"/>
                  </a:lnTo>
                  <a:lnTo>
                    <a:pt x="12" y="137"/>
                  </a:lnTo>
                  <a:lnTo>
                    <a:pt x="14" y="137"/>
                  </a:lnTo>
                  <a:lnTo>
                    <a:pt x="17" y="137"/>
                  </a:lnTo>
                  <a:lnTo>
                    <a:pt x="19" y="137"/>
                  </a:lnTo>
                  <a:lnTo>
                    <a:pt x="21" y="137"/>
                  </a:lnTo>
                  <a:lnTo>
                    <a:pt x="24" y="137"/>
                  </a:lnTo>
                  <a:lnTo>
                    <a:pt x="24" y="140"/>
                  </a:lnTo>
                  <a:lnTo>
                    <a:pt x="26" y="140"/>
                  </a:lnTo>
                  <a:lnTo>
                    <a:pt x="26" y="142"/>
                  </a:lnTo>
                  <a:lnTo>
                    <a:pt x="29" y="142"/>
                  </a:lnTo>
                  <a:lnTo>
                    <a:pt x="31" y="142"/>
                  </a:lnTo>
                  <a:lnTo>
                    <a:pt x="33" y="142"/>
                  </a:lnTo>
                  <a:lnTo>
                    <a:pt x="38" y="145"/>
                  </a:lnTo>
                  <a:lnTo>
                    <a:pt x="40" y="145"/>
                  </a:lnTo>
                  <a:lnTo>
                    <a:pt x="40" y="147"/>
                  </a:lnTo>
                  <a:lnTo>
                    <a:pt x="40" y="149"/>
                  </a:lnTo>
                  <a:lnTo>
                    <a:pt x="40" y="152"/>
                  </a:lnTo>
                  <a:lnTo>
                    <a:pt x="40" y="154"/>
                  </a:lnTo>
                  <a:lnTo>
                    <a:pt x="38" y="156"/>
                  </a:lnTo>
                  <a:lnTo>
                    <a:pt x="38" y="159"/>
                  </a:lnTo>
                  <a:lnTo>
                    <a:pt x="38" y="161"/>
                  </a:lnTo>
                  <a:lnTo>
                    <a:pt x="38" y="163"/>
                  </a:lnTo>
                  <a:lnTo>
                    <a:pt x="38" y="166"/>
                  </a:lnTo>
                  <a:lnTo>
                    <a:pt x="38" y="171"/>
                  </a:lnTo>
                  <a:lnTo>
                    <a:pt x="38" y="173"/>
                  </a:lnTo>
                  <a:lnTo>
                    <a:pt x="38" y="175"/>
                  </a:lnTo>
                  <a:lnTo>
                    <a:pt x="40" y="178"/>
                  </a:lnTo>
                  <a:lnTo>
                    <a:pt x="43" y="178"/>
                  </a:lnTo>
                  <a:lnTo>
                    <a:pt x="47" y="175"/>
                  </a:lnTo>
                  <a:lnTo>
                    <a:pt x="47" y="173"/>
                  </a:lnTo>
                  <a:lnTo>
                    <a:pt x="50" y="173"/>
                  </a:lnTo>
                  <a:lnTo>
                    <a:pt x="52" y="173"/>
                  </a:lnTo>
                  <a:lnTo>
                    <a:pt x="55" y="173"/>
                  </a:lnTo>
                  <a:lnTo>
                    <a:pt x="59" y="175"/>
                  </a:lnTo>
                  <a:lnTo>
                    <a:pt x="62" y="175"/>
                  </a:lnTo>
                  <a:lnTo>
                    <a:pt x="73" y="185"/>
                  </a:lnTo>
                  <a:lnTo>
                    <a:pt x="73" y="182"/>
                  </a:lnTo>
                  <a:lnTo>
                    <a:pt x="76" y="180"/>
                  </a:lnTo>
                  <a:lnTo>
                    <a:pt x="78" y="180"/>
                  </a:lnTo>
                  <a:lnTo>
                    <a:pt x="78" y="178"/>
                  </a:lnTo>
                  <a:lnTo>
                    <a:pt x="81" y="178"/>
                  </a:lnTo>
                  <a:lnTo>
                    <a:pt x="85" y="178"/>
                  </a:lnTo>
                  <a:lnTo>
                    <a:pt x="88" y="175"/>
                  </a:lnTo>
                  <a:lnTo>
                    <a:pt x="90" y="175"/>
                  </a:lnTo>
                  <a:lnTo>
                    <a:pt x="92" y="175"/>
                  </a:lnTo>
                  <a:lnTo>
                    <a:pt x="92" y="173"/>
                  </a:lnTo>
                  <a:lnTo>
                    <a:pt x="95" y="171"/>
                  </a:lnTo>
                  <a:lnTo>
                    <a:pt x="99" y="171"/>
                  </a:lnTo>
                  <a:lnTo>
                    <a:pt x="104" y="173"/>
                  </a:lnTo>
                  <a:lnTo>
                    <a:pt x="107" y="173"/>
                  </a:lnTo>
                  <a:lnTo>
                    <a:pt x="109" y="173"/>
                  </a:lnTo>
                  <a:lnTo>
                    <a:pt x="109" y="175"/>
                  </a:lnTo>
                  <a:lnTo>
                    <a:pt x="111" y="175"/>
                  </a:lnTo>
                  <a:lnTo>
                    <a:pt x="114" y="178"/>
                  </a:lnTo>
                  <a:lnTo>
                    <a:pt x="116" y="178"/>
                  </a:lnTo>
                  <a:lnTo>
                    <a:pt x="116" y="175"/>
                  </a:lnTo>
                  <a:lnTo>
                    <a:pt x="116" y="171"/>
                  </a:lnTo>
                  <a:lnTo>
                    <a:pt x="114" y="168"/>
                  </a:lnTo>
                  <a:lnTo>
                    <a:pt x="114" y="166"/>
                  </a:lnTo>
                  <a:lnTo>
                    <a:pt x="111" y="166"/>
                  </a:lnTo>
                  <a:lnTo>
                    <a:pt x="111" y="163"/>
                  </a:lnTo>
                  <a:lnTo>
                    <a:pt x="114" y="161"/>
                  </a:lnTo>
                  <a:lnTo>
                    <a:pt x="116" y="161"/>
                  </a:lnTo>
                  <a:lnTo>
                    <a:pt x="118" y="159"/>
                  </a:lnTo>
                  <a:lnTo>
                    <a:pt x="121" y="159"/>
                  </a:lnTo>
                  <a:lnTo>
                    <a:pt x="123" y="159"/>
                  </a:lnTo>
                  <a:lnTo>
                    <a:pt x="123" y="156"/>
                  </a:lnTo>
                  <a:lnTo>
                    <a:pt x="123" y="154"/>
                  </a:lnTo>
                  <a:lnTo>
                    <a:pt x="123" y="152"/>
                  </a:lnTo>
                  <a:lnTo>
                    <a:pt x="123" y="149"/>
                  </a:lnTo>
                  <a:lnTo>
                    <a:pt x="125" y="149"/>
                  </a:lnTo>
                  <a:lnTo>
                    <a:pt x="128" y="147"/>
                  </a:lnTo>
                  <a:lnTo>
                    <a:pt x="123" y="142"/>
                  </a:lnTo>
                  <a:lnTo>
                    <a:pt x="121" y="140"/>
                  </a:lnTo>
                  <a:lnTo>
                    <a:pt x="118" y="140"/>
                  </a:lnTo>
                  <a:lnTo>
                    <a:pt x="116" y="140"/>
                  </a:lnTo>
                  <a:lnTo>
                    <a:pt x="116" y="137"/>
                  </a:lnTo>
                  <a:lnTo>
                    <a:pt x="116" y="135"/>
                  </a:lnTo>
                  <a:lnTo>
                    <a:pt x="114" y="133"/>
                  </a:lnTo>
                  <a:lnTo>
                    <a:pt x="114" y="130"/>
                  </a:lnTo>
                  <a:lnTo>
                    <a:pt x="114" y="128"/>
                  </a:lnTo>
                  <a:lnTo>
                    <a:pt x="111" y="126"/>
                  </a:lnTo>
                  <a:lnTo>
                    <a:pt x="109" y="123"/>
                  </a:lnTo>
                  <a:lnTo>
                    <a:pt x="109" y="121"/>
                  </a:lnTo>
                  <a:lnTo>
                    <a:pt x="107" y="119"/>
                  </a:lnTo>
                  <a:lnTo>
                    <a:pt x="107" y="116"/>
                  </a:lnTo>
                  <a:lnTo>
                    <a:pt x="104" y="114"/>
                  </a:lnTo>
                  <a:lnTo>
                    <a:pt x="104" y="112"/>
                  </a:lnTo>
                  <a:lnTo>
                    <a:pt x="104" y="109"/>
                  </a:lnTo>
                  <a:lnTo>
                    <a:pt x="107" y="109"/>
                  </a:lnTo>
                  <a:lnTo>
                    <a:pt x="109" y="109"/>
                  </a:lnTo>
                  <a:lnTo>
                    <a:pt x="111" y="109"/>
                  </a:lnTo>
                  <a:lnTo>
                    <a:pt x="114" y="109"/>
                  </a:lnTo>
                  <a:lnTo>
                    <a:pt x="114" y="107"/>
                  </a:lnTo>
                  <a:lnTo>
                    <a:pt x="116" y="107"/>
                  </a:lnTo>
                  <a:lnTo>
                    <a:pt x="116" y="104"/>
                  </a:lnTo>
                  <a:lnTo>
                    <a:pt x="118" y="102"/>
                  </a:lnTo>
                  <a:lnTo>
                    <a:pt x="121" y="102"/>
                  </a:lnTo>
                  <a:lnTo>
                    <a:pt x="125" y="100"/>
                  </a:lnTo>
                  <a:lnTo>
                    <a:pt x="132" y="95"/>
                  </a:lnTo>
                  <a:lnTo>
                    <a:pt x="135" y="93"/>
                  </a:lnTo>
                  <a:lnTo>
                    <a:pt x="142" y="95"/>
                  </a:lnTo>
                  <a:lnTo>
                    <a:pt x="142" y="93"/>
                  </a:lnTo>
                  <a:lnTo>
                    <a:pt x="142" y="88"/>
                  </a:lnTo>
                  <a:lnTo>
                    <a:pt x="142" y="81"/>
                  </a:lnTo>
                  <a:lnTo>
                    <a:pt x="140" y="76"/>
                  </a:lnTo>
                  <a:lnTo>
                    <a:pt x="140" y="71"/>
                  </a:lnTo>
                  <a:lnTo>
                    <a:pt x="137" y="67"/>
                  </a:lnTo>
                  <a:lnTo>
                    <a:pt x="137" y="62"/>
                  </a:lnTo>
                  <a:lnTo>
                    <a:pt x="137" y="60"/>
                  </a:lnTo>
                  <a:lnTo>
                    <a:pt x="140" y="57"/>
                  </a:lnTo>
                  <a:lnTo>
                    <a:pt x="140" y="55"/>
                  </a:lnTo>
                  <a:lnTo>
                    <a:pt x="137" y="55"/>
                  </a:lnTo>
                  <a:lnTo>
                    <a:pt x="137" y="50"/>
                  </a:lnTo>
                  <a:lnTo>
                    <a:pt x="135" y="50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5" y="43"/>
                  </a:lnTo>
                  <a:lnTo>
                    <a:pt x="137" y="41"/>
                  </a:lnTo>
                  <a:lnTo>
                    <a:pt x="137" y="38"/>
                  </a:lnTo>
                  <a:lnTo>
                    <a:pt x="137" y="36"/>
                  </a:lnTo>
                  <a:lnTo>
                    <a:pt x="137" y="31"/>
                  </a:lnTo>
                  <a:lnTo>
                    <a:pt x="137" y="29"/>
                  </a:lnTo>
                  <a:lnTo>
                    <a:pt x="135" y="29"/>
                  </a:lnTo>
                  <a:lnTo>
                    <a:pt x="130" y="26"/>
                  </a:lnTo>
                  <a:lnTo>
                    <a:pt x="125" y="26"/>
                  </a:lnTo>
                  <a:lnTo>
                    <a:pt x="123" y="24"/>
                  </a:lnTo>
                  <a:lnTo>
                    <a:pt x="121" y="19"/>
                  </a:lnTo>
                  <a:lnTo>
                    <a:pt x="116" y="19"/>
                  </a:lnTo>
                  <a:lnTo>
                    <a:pt x="114" y="19"/>
                  </a:lnTo>
                  <a:lnTo>
                    <a:pt x="109" y="19"/>
                  </a:lnTo>
                  <a:lnTo>
                    <a:pt x="107" y="19"/>
                  </a:lnTo>
                  <a:lnTo>
                    <a:pt x="104" y="24"/>
                  </a:lnTo>
                  <a:lnTo>
                    <a:pt x="102" y="26"/>
                  </a:lnTo>
                  <a:lnTo>
                    <a:pt x="97" y="26"/>
                  </a:lnTo>
                  <a:lnTo>
                    <a:pt x="95" y="26"/>
                  </a:lnTo>
                  <a:lnTo>
                    <a:pt x="95" y="29"/>
                  </a:lnTo>
                  <a:lnTo>
                    <a:pt x="95" y="31"/>
                  </a:lnTo>
                  <a:lnTo>
                    <a:pt x="92" y="34"/>
                  </a:lnTo>
                  <a:lnTo>
                    <a:pt x="90" y="29"/>
                  </a:lnTo>
                  <a:lnTo>
                    <a:pt x="85" y="24"/>
                  </a:lnTo>
                  <a:lnTo>
                    <a:pt x="83" y="24"/>
                  </a:lnTo>
                  <a:lnTo>
                    <a:pt x="81" y="24"/>
                  </a:lnTo>
                  <a:lnTo>
                    <a:pt x="78" y="26"/>
                  </a:lnTo>
                  <a:lnTo>
                    <a:pt x="76" y="26"/>
                  </a:lnTo>
                  <a:lnTo>
                    <a:pt x="73" y="24"/>
                  </a:lnTo>
                  <a:lnTo>
                    <a:pt x="73" y="19"/>
                  </a:lnTo>
                  <a:lnTo>
                    <a:pt x="71" y="15"/>
                  </a:lnTo>
                  <a:lnTo>
                    <a:pt x="66" y="10"/>
                  </a:lnTo>
                  <a:lnTo>
                    <a:pt x="69" y="8"/>
                  </a:lnTo>
                  <a:lnTo>
                    <a:pt x="73" y="3"/>
                  </a:lnTo>
                  <a:lnTo>
                    <a:pt x="69" y="3"/>
                  </a:lnTo>
                  <a:lnTo>
                    <a:pt x="64" y="3"/>
                  </a:lnTo>
                  <a:lnTo>
                    <a:pt x="64" y="0"/>
                  </a:lnTo>
                  <a:lnTo>
                    <a:pt x="52" y="0"/>
                  </a:lnTo>
                  <a:lnTo>
                    <a:pt x="50" y="3"/>
                  </a:lnTo>
                  <a:lnTo>
                    <a:pt x="50" y="5"/>
                  </a:lnTo>
                  <a:lnTo>
                    <a:pt x="47" y="5"/>
                  </a:lnTo>
                  <a:lnTo>
                    <a:pt x="47" y="8"/>
                  </a:lnTo>
                  <a:lnTo>
                    <a:pt x="47" y="10"/>
                  </a:lnTo>
                  <a:lnTo>
                    <a:pt x="52" y="10"/>
                  </a:lnTo>
                  <a:lnTo>
                    <a:pt x="52" y="15"/>
                  </a:lnTo>
                  <a:lnTo>
                    <a:pt x="55" y="19"/>
                  </a:lnTo>
                  <a:lnTo>
                    <a:pt x="55" y="24"/>
                  </a:lnTo>
                  <a:lnTo>
                    <a:pt x="55" y="29"/>
                  </a:lnTo>
                  <a:lnTo>
                    <a:pt x="55" y="31"/>
                  </a:lnTo>
                  <a:lnTo>
                    <a:pt x="55" y="34"/>
                  </a:lnTo>
                  <a:lnTo>
                    <a:pt x="55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6"/>
                  </a:lnTo>
                  <a:lnTo>
                    <a:pt x="50" y="38"/>
                  </a:lnTo>
                  <a:lnTo>
                    <a:pt x="47" y="43"/>
                  </a:lnTo>
                  <a:lnTo>
                    <a:pt x="47" y="45"/>
                  </a:lnTo>
                  <a:lnTo>
                    <a:pt x="45" y="43"/>
                  </a:lnTo>
                  <a:lnTo>
                    <a:pt x="43" y="43"/>
                  </a:lnTo>
                  <a:lnTo>
                    <a:pt x="40" y="43"/>
                  </a:lnTo>
                  <a:lnTo>
                    <a:pt x="40" y="41"/>
                  </a:lnTo>
                  <a:lnTo>
                    <a:pt x="38" y="41"/>
                  </a:lnTo>
                  <a:lnTo>
                    <a:pt x="36" y="43"/>
                  </a:lnTo>
                  <a:lnTo>
                    <a:pt x="33" y="43"/>
                  </a:lnTo>
                  <a:lnTo>
                    <a:pt x="29" y="48"/>
                  </a:lnTo>
                  <a:lnTo>
                    <a:pt x="29" y="50"/>
                  </a:lnTo>
                  <a:lnTo>
                    <a:pt x="31" y="50"/>
                  </a:lnTo>
                  <a:lnTo>
                    <a:pt x="31" y="52"/>
                  </a:lnTo>
                  <a:lnTo>
                    <a:pt x="29" y="52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latin typeface="Arial" charset="0"/>
              </a:endParaRPr>
            </a:p>
          </p:txBody>
        </p:sp>
        <p:sp>
          <p:nvSpPr>
            <p:cNvPr id="35" name="Freeform 1893"/>
            <p:cNvSpPr>
              <a:spLocks/>
            </p:cNvSpPr>
            <p:nvPr/>
          </p:nvSpPr>
          <p:spPr bwMode="gray">
            <a:xfrm>
              <a:off x="1463735" y="4877927"/>
              <a:ext cx="2469860" cy="1111309"/>
            </a:xfrm>
            <a:custGeom>
              <a:avLst/>
              <a:gdLst/>
              <a:ahLst/>
              <a:cxnLst/>
              <a:rect l="l" t="t" r="r" b="b"/>
              <a:pathLst>
                <a:path w="2993741" h="1347028">
                  <a:moveTo>
                    <a:pt x="1597626" y="0"/>
                  </a:moveTo>
                  <a:lnTo>
                    <a:pt x="1669586" y="57572"/>
                  </a:lnTo>
                  <a:lnTo>
                    <a:pt x="1698372" y="57572"/>
                  </a:lnTo>
                  <a:lnTo>
                    <a:pt x="1727158" y="100756"/>
                  </a:lnTo>
                  <a:lnTo>
                    <a:pt x="1727158" y="158328"/>
                  </a:lnTo>
                  <a:lnTo>
                    <a:pt x="1727158" y="201503"/>
                  </a:lnTo>
                  <a:lnTo>
                    <a:pt x="1770342" y="201503"/>
                  </a:lnTo>
                  <a:lnTo>
                    <a:pt x="1799128" y="230289"/>
                  </a:lnTo>
                  <a:lnTo>
                    <a:pt x="1827914" y="273472"/>
                  </a:lnTo>
                  <a:lnTo>
                    <a:pt x="1871088" y="302258"/>
                  </a:lnTo>
                  <a:lnTo>
                    <a:pt x="1899874" y="302258"/>
                  </a:lnTo>
                  <a:lnTo>
                    <a:pt x="1943058" y="273472"/>
                  </a:lnTo>
                  <a:lnTo>
                    <a:pt x="1943058" y="302258"/>
                  </a:lnTo>
                  <a:lnTo>
                    <a:pt x="1971844" y="302258"/>
                  </a:lnTo>
                  <a:lnTo>
                    <a:pt x="1971844" y="331045"/>
                  </a:lnTo>
                  <a:lnTo>
                    <a:pt x="2000630" y="374219"/>
                  </a:lnTo>
                  <a:lnTo>
                    <a:pt x="2043804" y="403005"/>
                  </a:lnTo>
                  <a:lnTo>
                    <a:pt x="2072590" y="431791"/>
                  </a:lnTo>
                  <a:lnTo>
                    <a:pt x="2101376" y="431791"/>
                  </a:lnTo>
                  <a:lnTo>
                    <a:pt x="2144559" y="431791"/>
                  </a:lnTo>
                  <a:lnTo>
                    <a:pt x="2173345" y="431791"/>
                  </a:lnTo>
                  <a:lnTo>
                    <a:pt x="2173345" y="403005"/>
                  </a:lnTo>
                  <a:lnTo>
                    <a:pt x="2202131" y="403005"/>
                  </a:lnTo>
                  <a:lnTo>
                    <a:pt x="2202131" y="431791"/>
                  </a:lnTo>
                  <a:lnTo>
                    <a:pt x="2202131" y="474975"/>
                  </a:lnTo>
                  <a:lnTo>
                    <a:pt x="2202131" y="503761"/>
                  </a:lnTo>
                  <a:lnTo>
                    <a:pt x="2202131" y="532547"/>
                  </a:lnTo>
                  <a:lnTo>
                    <a:pt x="2245306" y="532547"/>
                  </a:lnTo>
                  <a:lnTo>
                    <a:pt x="2302878" y="532547"/>
                  </a:lnTo>
                  <a:lnTo>
                    <a:pt x="2418022" y="503761"/>
                  </a:lnTo>
                  <a:lnTo>
                    <a:pt x="2418022" y="532547"/>
                  </a:lnTo>
                  <a:lnTo>
                    <a:pt x="2418022" y="575721"/>
                  </a:lnTo>
                  <a:lnTo>
                    <a:pt x="2418022" y="604508"/>
                  </a:lnTo>
                  <a:lnTo>
                    <a:pt x="2446808" y="604508"/>
                  </a:lnTo>
                  <a:lnTo>
                    <a:pt x="2446808" y="633294"/>
                  </a:lnTo>
                  <a:lnTo>
                    <a:pt x="2518777" y="633294"/>
                  </a:lnTo>
                  <a:lnTo>
                    <a:pt x="2547563" y="633294"/>
                  </a:lnTo>
                  <a:lnTo>
                    <a:pt x="2576349" y="633294"/>
                  </a:lnTo>
                  <a:lnTo>
                    <a:pt x="2619523" y="633294"/>
                  </a:lnTo>
                  <a:lnTo>
                    <a:pt x="2648309" y="633294"/>
                  </a:lnTo>
                  <a:lnTo>
                    <a:pt x="2677095" y="633294"/>
                  </a:lnTo>
                  <a:lnTo>
                    <a:pt x="2720279" y="633294"/>
                  </a:lnTo>
                  <a:lnTo>
                    <a:pt x="2720279" y="676477"/>
                  </a:lnTo>
                  <a:lnTo>
                    <a:pt x="2749065" y="676477"/>
                  </a:lnTo>
                  <a:lnTo>
                    <a:pt x="2749065" y="705263"/>
                  </a:lnTo>
                  <a:lnTo>
                    <a:pt x="2792239" y="705263"/>
                  </a:lnTo>
                  <a:lnTo>
                    <a:pt x="2821025" y="705263"/>
                  </a:lnTo>
                  <a:lnTo>
                    <a:pt x="2849811" y="705263"/>
                  </a:lnTo>
                  <a:lnTo>
                    <a:pt x="2950567" y="748438"/>
                  </a:lnTo>
                  <a:lnTo>
                    <a:pt x="2993741" y="777224"/>
                  </a:lnTo>
                  <a:lnTo>
                    <a:pt x="2950567" y="806010"/>
                  </a:lnTo>
                  <a:lnTo>
                    <a:pt x="2950567" y="849194"/>
                  </a:lnTo>
                  <a:lnTo>
                    <a:pt x="2950567" y="877980"/>
                  </a:lnTo>
                  <a:lnTo>
                    <a:pt x="2921781" y="906766"/>
                  </a:lnTo>
                  <a:lnTo>
                    <a:pt x="2921781" y="949940"/>
                  </a:lnTo>
                  <a:lnTo>
                    <a:pt x="2921781" y="978726"/>
                  </a:lnTo>
                  <a:lnTo>
                    <a:pt x="2921781" y="1007512"/>
                  </a:lnTo>
                  <a:lnTo>
                    <a:pt x="2921781" y="1050696"/>
                  </a:lnTo>
                  <a:lnTo>
                    <a:pt x="2921781" y="1122657"/>
                  </a:lnTo>
                  <a:lnTo>
                    <a:pt x="2921781" y="1151443"/>
                  </a:lnTo>
                  <a:lnTo>
                    <a:pt x="2950567" y="1223412"/>
                  </a:lnTo>
                  <a:lnTo>
                    <a:pt x="2950567" y="1252199"/>
                  </a:lnTo>
                  <a:lnTo>
                    <a:pt x="2921781" y="1252199"/>
                  </a:lnTo>
                  <a:lnTo>
                    <a:pt x="2892995" y="1252199"/>
                  </a:lnTo>
                  <a:lnTo>
                    <a:pt x="2849811" y="1252199"/>
                  </a:lnTo>
                  <a:lnTo>
                    <a:pt x="2849811" y="1280985"/>
                  </a:lnTo>
                  <a:lnTo>
                    <a:pt x="2849811" y="1324159"/>
                  </a:lnTo>
                  <a:lnTo>
                    <a:pt x="2821025" y="1324159"/>
                  </a:lnTo>
                  <a:lnTo>
                    <a:pt x="2821025" y="1347028"/>
                  </a:lnTo>
                  <a:lnTo>
                    <a:pt x="469056" y="1347028"/>
                  </a:lnTo>
                  <a:lnTo>
                    <a:pt x="446187" y="1324159"/>
                  </a:lnTo>
                  <a:lnTo>
                    <a:pt x="474973" y="1223412"/>
                  </a:lnTo>
                  <a:lnTo>
                    <a:pt x="331043" y="1280985"/>
                  </a:lnTo>
                  <a:lnTo>
                    <a:pt x="331043" y="1223412"/>
                  </a:lnTo>
                  <a:lnTo>
                    <a:pt x="230288" y="1180229"/>
                  </a:lnTo>
                  <a:lnTo>
                    <a:pt x="172716" y="1151443"/>
                  </a:lnTo>
                  <a:lnTo>
                    <a:pt x="129541" y="1151443"/>
                  </a:lnTo>
                  <a:lnTo>
                    <a:pt x="28786" y="1151443"/>
                  </a:lnTo>
                  <a:lnTo>
                    <a:pt x="28786" y="1122657"/>
                  </a:lnTo>
                  <a:lnTo>
                    <a:pt x="28786" y="1079482"/>
                  </a:lnTo>
                  <a:lnTo>
                    <a:pt x="28786" y="1050696"/>
                  </a:lnTo>
                  <a:lnTo>
                    <a:pt x="0" y="1007512"/>
                  </a:lnTo>
                  <a:lnTo>
                    <a:pt x="71970" y="1007512"/>
                  </a:lnTo>
                  <a:lnTo>
                    <a:pt x="129541" y="978726"/>
                  </a:lnTo>
                  <a:lnTo>
                    <a:pt x="71970" y="949940"/>
                  </a:lnTo>
                  <a:lnTo>
                    <a:pt x="0" y="906766"/>
                  </a:lnTo>
                  <a:lnTo>
                    <a:pt x="28786" y="906766"/>
                  </a:lnTo>
                  <a:lnTo>
                    <a:pt x="100755" y="877980"/>
                  </a:lnTo>
                  <a:lnTo>
                    <a:pt x="129541" y="877980"/>
                  </a:lnTo>
                  <a:lnTo>
                    <a:pt x="201502" y="877980"/>
                  </a:lnTo>
                  <a:lnTo>
                    <a:pt x="230288" y="849194"/>
                  </a:lnTo>
                  <a:lnTo>
                    <a:pt x="331043" y="849194"/>
                  </a:lnTo>
                  <a:lnTo>
                    <a:pt x="374218" y="849194"/>
                  </a:lnTo>
                  <a:lnTo>
                    <a:pt x="403004" y="849194"/>
                  </a:lnTo>
                  <a:lnTo>
                    <a:pt x="403004" y="877980"/>
                  </a:lnTo>
                  <a:lnTo>
                    <a:pt x="403004" y="906766"/>
                  </a:lnTo>
                  <a:lnTo>
                    <a:pt x="446187" y="906766"/>
                  </a:lnTo>
                  <a:lnTo>
                    <a:pt x="474973" y="906766"/>
                  </a:lnTo>
                  <a:lnTo>
                    <a:pt x="575720" y="849194"/>
                  </a:lnTo>
                  <a:lnTo>
                    <a:pt x="604506" y="849194"/>
                  </a:lnTo>
                  <a:lnTo>
                    <a:pt x="647689" y="849194"/>
                  </a:lnTo>
                  <a:lnTo>
                    <a:pt x="676475" y="849194"/>
                  </a:lnTo>
                  <a:lnTo>
                    <a:pt x="705261" y="877980"/>
                  </a:lnTo>
                  <a:lnTo>
                    <a:pt x="777221" y="877980"/>
                  </a:lnTo>
                  <a:lnTo>
                    <a:pt x="777221" y="806010"/>
                  </a:lnTo>
                  <a:lnTo>
                    <a:pt x="777221" y="748438"/>
                  </a:lnTo>
                  <a:lnTo>
                    <a:pt x="748435" y="676477"/>
                  </a:lnTo>
                  <a:lnTo>
                    <a:pt x="705261" y="575721"/>
                  </a:lnTo>
                  <a:lnTo>
                    <a:pt x="676475" y="532547"/>
                  </a:lnTo>
                  <a:lnTo>
                    <a:pt x="676475" y="503761"/>
                  </a:lnTo>
                  <a:lnTo>
                    <a:pt x="705261" y="474975"/>
                  </a:lnTo>
                  <a:lnTo>
                    <a:pt x="748435" y="474975"/>
                  </a:lnTo>
                  <a:lnTo>
                    <a:pt x="748435" y="431791"/>
                  </a:lnTo>
                  <a:lnTo>
                    <a:pt x="777221" y="431791"/>
                  </a:lnTo>
                  <a:lnTo>
                    <a:pt x="820405" y="474975"/>
                  </a:lnTo>
                  <a:lnTo>
                    <a:pt x="820405" y="503761"/>
                  </a:lnTo>
                  <a:lnTo>
                    <a:pt x="820405" y="575721"/>
                  </a:lnTo>
                  <a:lnTo>
                    <a:pt x="877977" y="575721"/>
                  </a:lnTo>
                  <a:lnTo>
                    <a:pt x="978723" y="575721"/>
                  </a:lnTo>
                  <a:lnTo>
                    <a:pt x="1021907" y="604508"/>
                  </a:lnTo>
                  <a:lnTo>
                    <a:pt x="1079479" y="575721"/>
                  </a:lnTo>
                  <a:lnTo>
                    <a:pt x="1122653" y="575721"/>
                  </a:lnTo>
                  <a:lnTo>
                    <a:pt x="1194622" y="575721"/>
                  </a:lnTo>
                  <a:lnTo>
                    <a:pt x="1194622" y="503761"/>
                  </a:lnTo>
                  <a:lnTo>
                    <a:pt x="1194622" y="431791"/>
                  </a:lnTo>
                  <a:lnTo>
                    <a:pt x="1223408" y="403005"/>
                  </a:lnTo>
                  <a:lnTo>
                    <a:pt x="1252194" y="403005"/>
                  </a:lnTo>
                  <a:lnTo>
                    <a:pt x="1295369" y="374219"/>
                  </a:lnTo>
                  <a:lnTo>
                    <a:pt x="1324155" y="374219"/>
                  </a:lnTo>
                  <a:lnTo>
                    <a:pt x="1396124" y="374219"/>
                  </a:lnTo>
                  <a:lnTo>
                    <a:pt x="1453696" y="331045"/>
                  </a:lnTo>
                  <a:lnTo>
                    <a:pt x="1424910" y="273472"/>
                  </a:lnTo>
                  <a:lnTo>
                    <a:pt x="1424910" y="201503"/>
                  </a:lnTo>
                  <a:lnTo>
                    <a:pt x="1424910" y="129542"/>
                  </a:lnTo>
                  <a:lnTo>
                    <a:pt x="1424910" y="57572"/>
                  </a:lnTo>
                  <a:lnTo>
                    <a:pt x="1453696" y="57572"/>
                  </a:lnTo>
                  <a:lnTo>
                    <a:pt x="1525657" y="28786"/>
                  </a:lnTo>
                  <a:lnTo>
                    <a:pt x="1568840" y="28786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latin typeface="Arial" charset="0"/>
              </a:endParaRPr>
            </a:p>
          </p:txBody>
        </p:sp>
        <p:sp>
          <p:nvSpPr>
            <p:cNvPr id="36" name="Freeform 1916"/>
            <p:cNvSpPr>
              <a:spLocks/>
            </p:cNvSpPr>
            <p:nvPr/>
          </p:nvSpPr>
          <p:spPr bwMode="gray">
            <a:xfrm>
              <a:off x="3874219" y="2883035"/>
              <a:ext cx="558097" cy="1033073"/>
            </a:xfrm>
            <a:custGeom>
              <a:avLst/>
              <a:gdLst>
                <a:gd name="T0" fmla="*/ 44450 w 47"/>
                <a:gd name="T1" fmla="*/ 115888 h 87"/>
                <a:gd name="T2" fmla="*/ 49213 w 47"/>
                <a:gd name="T3" fmla="*/ 104775 h 87"/>
                <a:gd name="T4" fmla="*/ 52388 w 47"/>
                <a:gd name="T5" fmla="*/ 115888 h 87"/>
                <a:gd name="T6" fmla="*/ 68263 w 47"/>
                <a:gd name="T7" fmla="*/ 123825 h 87"/>
                <a:gd name="T8" fmla="*/ 74613 w 47"/>
                <a:gd name="T9" fmla="*/ 138113 h 87"/>
                <a:gd name="T10" fmla="*/ 68263 w 47"/>
                <a:gd name="T11" fmla="*/ 107950 h 87"/>
                <a:gd name="T12" fmla="*/ 60325 w 47"/>
                <a:gd name="T13" fmla="*/ 101600 h 87"/>
                <a:gd name="T14" fmla="*/ 55563 w 47"/>
                <a:gd name="T15" fmla="*/ 101600 h 87"/>
                <a:gd name="T16" fmla="*/ 55563 w 47"/>
                <a:gd name="T17" fmla="*/ 85725 h 87"/>
                <a:gd name="T18" fmla="*/ 63500 w 47"/>
                <a:gd name="T19" fmla="*/ 71438 h 87"/>
                <a:gd name="T20" fmla="*/ 71438 w 47"/>
                <a:gd name="T21" fmla="*/ 74613 h 87"/>
                <a:gd name="T22" fmla="*/ 71438 w 47"/>
                <a:gd name="T23" fmla="*/ 66675 h 87"/>
                <a:gd name="T24" fmla="*/ 60325 w 47"/>
                <a:gd name="T25" fmla="*/ 63500 h 87"/>
                <a:gd name="T26" fmla="*/ 60325 w 47"/>
                <a:gd name="T27" fmla="*/ 52388 h 87"/>
                <a:gd name="T28" fmla="*/ 60325 w 47"/>
                <a:gd name="T29" fmla="*/ 33338 h 87"/>
                <a:gd name="T30" fmla="*/ 49213 w 47"/>
                <a:gd name="T31" fmla="*/ 33338 h 87"/>
                <a:gd name="T32" fmla="*/ 60325 w 47"/>
                <a:gd name="T33" fmla="*/ 30163 h 87"/>
                <a:gd name="T34" fmla="*/ 63500 w 47"/>
                <a:gd name="T35" fmla="*/ 25400 h 87"/>
                <a:gd name="T36" fmla="*/ 68263 w 47"/>
                <a:gd name="T37" fmla="*/ 19050 h 87"/>
                <a:gd name="T38" fmla="*/ 68263 w 47"/>
                <a:gd name="T39" fmla="*/ 7938 h 87"/>
                <a:gd name="T40" fmla="*/ 68263 w 47"/>
                <a:gd name="T41" fmla="*/ 0 h 87"/>
                <a:gd name="T42" fmla="*/ 49213 w 47"/>
                <a:gd name="T43" fmla="*/ 11113 h 87"/>
                <a:gd name="T44" fmla="*/ 38100 w 47"/>
                <a:gd name="T45" fmla="*/ 25400 h 87"/>
                <a:gd name="T46" fmla="*/ 30163 w 47"/>
                <a:gd name="T47" fmla="*/ 30163 h 87"/>
                <a:gd name="T48" fmla="*/ 19050 w 47"/>
                <a:gd name="T49" fmla="*/ 25400 h 87"/>
                <a:gd name="T50" fmla="*/ 14288 w 47"/>
                <a:gd name="T51" fmla="*/ 33338 h 87"/>
                <a:gd name="T52" fmla="*/ 3175 w 47"/>
                <a:gd name="T53" fmla="*/ 44450 h 87"/>
                <a:gd name="T54" fmla="*/ 7938 w 47"/>
                <a:gd name="T55" fmla="*/ 49213 h 87"/>
                <a:gd name="T56" fmla="*/ 11113 w 47"/>
                <a:gd name="T57" fmla="*/ 52388 h 87"/>
                <a:gd name="T58" fmla="*/ 22225 w 47"/>
                <a:gd name="T59" fmla="*/ 41275 h 87"/>
                <a:gd name="T60" fmla="*/ 19050 w 47"/>
                <a:gd name="T61" fmla="*/ 52388 h 87"/>
                <a:gd name="T62" fmla="*/ 22225 w 47"/>
                <a:gd name="T63" fmla="*/ 52388 h 87"/>
                <a:gd name="T64" fmla="*/ 26988 w 47"/>
                <a:gd name="T65" fmla="*/ 49213 h 87"/>
                <a:gd name="T66" fmla="*/ 26988 w 47"/>
                <a:gd name="T67" fmla="*/ 41275 h 87"/>
                <a:gd name="T68" fmla="*/ 22225 w 47"/>
                <a:gd name="T69" fmla="*/ 33338 h 87"/>
                <a:gd name="T70" fmla="*/ 38100 w 47"/>
                <a:gd name="T71" fmla="*/ 38100 h 87"/>
                <a:gd name="T72" fmla="*/ 38100 w 47"/>
                <a:gd name="T73" fmla="*/ 52388 h 87"/>
                <a:gd name="T74" fmla="*/ 30163 w 47"/>
                <a:gd name="T75" fmla="*/ 49213 h 87"/>
                <a:gd name="T76" fmla="*/ 22225 w 47"/>
                <a:gd name="T77" fmla="*/ 63500 h 87"/>
                <a:gd name="T78" fmla="*/ 3175 w 47"/>
                <a:gd name="T79" fmla="*/ 66675 h 87"/>
                <a:gd name="T80" fmla="*/ 0 w 47"/>
                <a:gd name="T81" fmla="*/ 74613 h 87"/>
                <a:gd name="T82" fmla="*/ 7938 w 47"/>
                <a:gd name="T83" fmla="*/ 79375 h 87"/>
                <a:gd name="T84" fmla="*/ 11113 w 47"/>
                <a:gd name="T85" fmla="*/ 82550 h 87"/>
                <a:gd name="T86" fmla="*/ 11113 w 47"/>
                <a:gd name="T87" fmla="*/ 90488 h 87"/>
                <a:gd name="T88" fmla="*/ 7938 w 47"/>
                <a:gd name="T89" fmla="*/ 107950 h 87"/>
                <a:gd name="T90" fmla="*/ 22225 w 47"/>
                <a:gd name="T91" fmla="*/ 119063 h 87"/>
                <a:gd name="T92" fmla="*/ 22225 w 47"/>
                <a:gd name="T93" fmla="*/ 119063 h 8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7"/>
                <a:gd name="T142" fmla="*/ 0 h 87"/>
                <a:gd name="T143" fmla="*/ 47 w 47"/>
                <a:gd name="T144" fmla="*/ 87 h 8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7" h="87">
                  <a:moveTo>
                    <a:pt x="14" y="75"/>
                  </a:moveTo>
                  <a:lnTo>
                    <a:pt x="26" y="75"/>
                  </a:lnTo>
                  <a:lnTo>
                    <a:pt x="28" y="73"/>
                  </a:lnTo>
                  <a:lnTo>
                    <a:pt x="31" y="68"/>
                  </a:lnTo>
                  <a:lnTo>
                    <a:pt x="31" y="66"/>
                  </a:lnTo>
                  <a:lnTo>
                    <a:pt x="33" y="68"/>
                  </a:lnTo>
                  <a:lnTo>
                    <a:pt x="31" y="71"/>
                  </a:lnTo>
                  <a:lnTo>
                    <a:pt x="33" y="73"/>
                  </a:lnTo>
                  <a:lnTo>
                    <a:pt x="35" y="75"/>
                  </a:lnTo>
                  <a:lnTo>
                    <a:pt x="43" y="75"/>
                  </a:lnTo>
                  <a:lnTo>
                    <a:pt x="43" y="78"/>
                  </a:lnTo>
                  <a:lnTo>
                    <a:pt x="43" y="83"/>
                  </a:lnTo>
                  <a:lnTo>
                    <a:pt x="45" y="85"/>
                  </a:lnTo>
                  <a:lnTo>
                    <a:pt x="47" y="87"/>
                  </a:lnTo>
                  <a:lnTo>
                    <a:pt x="45" y="83"/>
                  </a:lnTo>
                  <a:lnTo>
                    <a:pt x="43" y="75"/>
                  </a:lnTo>
                  <a:lnTo>
                    <a:pt x="43" y="68"/>
                  </a:lnTo>
                  <a:lnTo>
                    <a:pt x="43" y="64"/>
                  </a:lnTo>
                  <a:lnTo>
                    <a:pt x="38" y="64"/>
                  </a:lnTo>
                  <a:lnTo>
                    <a:pt x="38" y="66"/>
                  </a:lnTo>
                  <a:lnTo>
                    <a:pt x="35" y="64"/>
                  </a:lnTo>
                  <a:lnTo>
                    <a:pt x="33" y="64"/>
                  </a:lnTo>
                  <a:lnTo>
                    <a:pt x="35" y="59"/>
                  </a:lnTo>
                  <a:lnTo>
                    <a:pt x="35" y="54"/>
                  </a:lnTo>
                  <a:lnTo>
                    <a:pt x="38" y="50"/>
                  </a:lnTo>
                  <a:lnTo>
                    <a:pt x="38" y="45"/>
                  </a:lnTo>
                  <a:lnTo>
                    <a:pt x="40" y="45"/>
                  </a:lnTo>
                  <a:lnTo>
                    <a:pt x="43" y="47"/>
                  </a:lnTo>
                  <a:lnTo>
                    <a:pt x="45" y="47"/>
                  </a:lnTo>
                  <a:lnTo>
                    <a:pt x="47" y="47"/>
                  </a:lnTo>
                  <a:lnTo>
                    <a:pt x="45" y="42"/>
                  </a:lnTo>
                  <a:lnTo>
                    <a:pt x="47" y="40"/>
                  </a:lnTo>
                  <a:lnTo>
                    <a:pt x="43" y="40"/>
                  </a:lnTo>
                  <a:lnTo>
                    <a:pt x="38" y="40"/>
                  </a:lnTo>
                  <a:lnTo>
                    <a:pt x="38" y="38"/>
                  </a:lnTo>
                  <a:lnTo>
                    <a:pt x="38" y="35"/>
                  </a:lnTo>
                  <a:lnTo>
                    <a:pt x="38" y="33"/>
                  </a:lnTo>
                  <a:lnTo>
                    <a:pt x="38" y="31"/>
                  </a:lnTo>
                  <a:lnTo>
                    <a:pt x="38" y="26"/>
                  </a:lnTo>
                  <a:lnTo>
                    <a:pt x="38" y="21"/>
                  </a:lnTo>
                  <a:lnTo>
                    <a:pt x="35" y="21"/>
                  </a:lnTo>
                  <a:lnTo>
                    <a:pt x="33" y="21"/>
                  </a:lnTo>
                  <a:lnTo>
                    <a:pt x="31" y="21"/>
                  </a:lnTo>
                  <a:lnTo>
                    <a:pt x="28" y="19"/>
                  </a:lnTo>
                  <a:lnTo>
                    <a:pt x="33" y="19"/>
                  </a:lnTo>
                  <a:lnTo>
                    <a:pt x="38" y="19"/>
                  </a:lnTo>
                  <a:lnTo>
                    <a:pt x="40" y="19"/>
                  </a:lnTo>
                  <a:lnTo>
                    <a:pt x="40" y="16"/>
                  </a:lnTo>
                  <a:lnTo>
                    <a:pt x="43" y="14"/>
                  </a:lnTo>
                  <a:lnTo>
                    <a:pt x="43" y="12"/>
                  </a:lnTo>
                  <a:lnTo>
                    <a:pt x="43" y="9"/>
                  </a:lnTo>
                  <a:lnTo>
                    <a:pt x="43" y="7"/>
                  </a:lnTo>
                  <a:lnTo>
                    <a:pt x="43" y="5"/>
                  </a:lnTo>
                  <a:lnTo>
                    <a:pt x="43" y="2"/>
                  </a:lnTo>
                  <a:lnTo>
                    <a:pt x="43" y="0"/>
                  </a:lnTo>
                  <a:lnTo>
                    <a:pt x="38" y="2"/>
                  </a:lnTo>
                  <a:lnTo>
                    <a:pt x="35" y="5"/>
                  </a:lnTo>
                  <a:lnTo>
                    <a:pt x="31" y="7"/>
                  </a:lnTo>
                  <a:lnTo>
                    <a:pt x="28" y="7"/>
                  </a:lnTo>
                  <a:lnTo>
                    <a:pt x="26" y="12"/>
                  </a:lnTo>
                  <a:lnTo>
                    <a:pt x="24" y="16"/>
                  </a:lnTo>
                  <a:lnTo>
                    <a:pt x="24" y="19"/>
                  </a:lnTo>
                  <a:lnTo>
                    <a:pt x="21" y="19"/>
                  </a:lnTo>
                  <a:lnTo>
                    <a:pt x="19" y="19"/>
                  </a:lnTo>
                  <a:lnTo>
                    <a:pt x="14" y="16"/>
                  </a:lnTo>
                  <a:lnTo>
                    <a:pt x="12" y="16"/>
                  </a:lnTo>
                  <a:lnTo>
                    <a:pt x="12" y="19"/>
                  </a:lnTo>
                  <a:lnTo>
                    <a:pt x="9" y="19"/>
                  </a:lnTo>
                  <a:lnTo>
                    <a:pt x="9" y="21"/>
                  </a:lnTo>
                  <a:lnTo>
                    <a:pt x="7" y="21"/>
                  </a:lnTo>
                  <a:lnTo>
                    <a:pt x="5" y="26"/>
                  </a:lnTo>
                  <a:lnTo>
                    <a:pt x="2" y="28"/>
                  </a:lnTo>
                  <a:lnTo>
                    <a:pt x="5" y="31"/>
                  </a:lnTo>
                  <a:lnTo>
                    <a:pt x="5" y="33"/>
                  </a:lnTo>
                  <a:lnTo>
                    <a:pt x="7" y="33"/>
                  </a:lnTo>
                  <a:lnTo>
                    <a:pt x="9" y="26"/>
                  </a:lnTo>
                  <a:lnTo>
                    <a:pt x="14" y="26"/>
                  </a:lnTo>
                  <a:lnTo>
                    <a:pt x="12" y="31"/>
                  </a:lnTo>
                  <a:lnTo>
                    <a:pt x="12" y="33"/>
                  </a:lnTo>
                  <a:lnTo>
                    <a:pt x="14" y="33"/>
                  </a:lnTo>
                  <a:lnTo>
                    <a:pt x="17" y="31"/>
                  </a:lnTo>
                  <a:lnTo>
                    <a:pt x="17" y="28"/>
                  </a:lnTo>
                  <a:lnTo>
                    <a:pt x="17" y="26"/>
                  </a:lnTo>
                  <a:lnTo>
                    <a:pt x="17" y="24"/>
                  </a:lnTo>
                  <a:lnTo>
                    <a:pt x="14" y="21"/>
                  </a:lnTo>
                  <a:lnTo>
                    <a:pt x="17" y="24"/>
                  </a:lnTo>
                  <a:lnTo>
                    <a:pt x="19" y="24"/>
                  </a:lnTo>
                  <a:lnTo>
                    <a:pt x="24" y="24"/>
                  </a:lnTo>
                  <a:lnTo>
                    <a:pt x="24" y="21"/>
                  </a:lnTo>
                  <a:lnTo>
                    <a:pt x="24" y="28"/>
                  </a:lnTo>
                  <a:lnTo>
                    <a:pt x="24" y="33"/>
                  </a:lnTo>
                  <a:lnTo>
                    <a:pt x="24" y="31"/>
                  </a:lnTo>
                  <a:lnTo>
                    <a:pt x="19" y="31"/>
                  </a:lnTo>
                  <a:lnTo>
                    <a:pt x="17" y="35"/>
                  </a:lnTo>
                  <a:lnTo>
                    <a:pt x="14" y="38"/>
                  </a:lnTo>
                  <a:lnTo>
                    <a:pt x="14" y="40"/>
                  </a:lnTo>
                  <a:lnTo>
                    <a:pt x="0" y="40"/>
                  </a:lnTo>
                  <a:lnTo>
                    <a:pt x="2" y="40"/>
                  </a:lnTo>
                  <a:lnTo>
                    <a:pt x="2" y="42"/>
                  </a:lnTo>
                  <a:lnTo>
                    <a:pt x="2" y="45"/>
                  </a:lnTo>
                  <a:lnTo>
                    <a:pt x="0" y="47"/>
                  </a:lnTo>
                  <a:lnTo>
                    <a:pt x="0" y="50"/>
                  </a:lnTo>
                  <a:lnTo>
                    <a:pt x="2" y="50"/>
                  </a:lnTo>
                  <a:lnTo>
                    <a:pt x="5" y="50"/>
                  </a:lnTo>
                  <a:lnTo>
                    <a:pt x="7" y="50"/>
                  </a:lnTo>
                  <a:lnTo>
                    <a:pt x="7" y="52"/>
                  </a:lnTo>
                  <a:lnTo>
                    <a:pt x="7" y="57"/>
                  </a:lnTo>
                  <a:lnTo>
                    <a:pt x="7" y="61"/>
                  </a:lnTo>
                  <a:lnTo>
                    <a:pt x="5" y="66"/>
                  </a:lnTo>
                  <a:lnTo>
                    <a:pt x="5" y="68"/>
                  </a:lnTo>
                  <a:lnTo>
                    <a:pt x="12" y="71"/>
                  </a:lnTo>
                  <a:lnTo>
                    <a:pt x="14" y="73"/>
                  </a:lnTo>
                  <a:lnTo>
                    <a:pt x="14" y="75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latin typeface="Arial" charset="0"/>
              </a:endParaRPr>
            </a:p>
          </p:txBody>
        </p:sp>
        <p:sp>
          <p:nvSpPr>
            <p:cNvPr id="37" name="Freeform 1917"/>
            <p:cNvSpPr>
              <a:spLocks/>
            </p:cNvSpPr>
            <p:nvPr/>
          </p:nvSpPr>
          <p:spPr bwMode="gray">
            <a:xfrm>
              <a:off x="4491676" y="3832983"/>
              <a:ext cx="225616" cy="142492"/>
            </a:xfrm>
            <a:custGeom>
              <a:avLst/>
              <a:gdLst>
                <a:gd name="T0" fmla="*/ 19050 w 19"/>
                <a:gd name="T1" fmla="*/ 0 h 12"/>
                <a:gd name="T2" fmla="*/ 14288 w 19"/>
                <a:gd name="T3" fmla="*/ 0 h 12"/>
                <a:gd name="T4" fmla="*/ 11113 w 19"/>
                <a:gd name="T5" fmla="*/ 0 h 12"/>
                <a:gd name="T6" fmla="*/ 3175 w 19"/>
                <a:gd name="T7" fmla="*/ 4763 h 12"/>
                <a:gd name="T8" fmla="*/ 0 w 19"/>
                <a:gd name="T9" fmla="*/ 4763 h 12"/>
                <a:gd name="T10" fmla="*/ 0 w 19"/>
                <a:gd name="T11" fmla="*/ 7938 h 12"/>
                <a:gd name="T12" fmla="*/ 0 w 19"/>
                <a:gd name="T13" fmla="*/ 7938 h 12"/>
                <a:gd name="T14" fmla="*/ 0 w 19"/>
                <a:gd name="T15" fmla="*/ 11113 h 12"/>
                <a:gd name="T16" fmla="*/ 0 w 19"/>
                <a:gd name="T17" fmla="*/ 15875 h 12"/>
                <a:gd name="T18" fmla="*/ 0 w 19"/>
                <a:gd name="T19" fmla="*/ 19050 h 12"/>
                <a:gd name="T20" fmla="*/ 3175 w 19"/>
                <a:gd name="T21" fmla="*/ 19050 h 12"/>
                <a:gd name="T22" fmla="*/ 3175 w 19"/>
                <a:gd name="T23" fmla="*/ 19050 h 12"/>
                <a:gd name="T24" fmla="*/ 3175 w 19"/>
                <a:gd name="T25" fmla="*/ 19050 h 12"/>
                <a:gd name="T26" fmla="*/ 7938 w 19"/>
                <a:gd name="T27" fmla="*/ 19050 h 12"/>
                <a:gd name="T28" fmla="*/ 11113 w 19"/>
                <a:gd name="T29" fmla="*/ 19050 h 12"/>
                <a:gd name="T30" fmla="*/ 11113 w 19"/>
                <a:gd name="T31" fmla="*/ 19050 h 12"/>
                <a:gd name="T32" fmla="*/ 19050 w 19"/>
                <a:gd name="T33" fmla="*/ 15875 h 12"/>
                <a:gd name="T34" fmla="*/ 22225 w 19"/>
                <a:gd name="T35" fmla="*/ 11113 h 12"/>
                <a:gd name="T36" fmla="*/ 26988 w 19"/>
                <a:gd name="T37" fmla="*/ 7938 h 12"/>
                <a:gd name="T38" fmla="*/ 30163 w 19"/>
                <a:gd name="T39" fmla="*/ 7938 h 12"/>
                <a:gd name="T40" fmla="*/ 30163 w 19"/>
                <a:gd name="T41" fmla="*/ 4763 h 12"/>
                <a:gd name="T42" fmla="*/ 30163 w 19"/>
                <a:gd name="T43" fmla="*/ 4763 h 12"/>
                <a:gd name="T44" fmla="*/ 30163 w 19"/>
                <a:gd name="T45" fmla="*/ 0 h 12"/>
                <a:gd name="T46" fmla="*/ 30163 w 19"/>
                <a:gd name="T47" fmla="*/ 0 h 12"/>
                <a:gd name="T48" fmla="*/ 26988 w 19"/>
                <a:gd name="T49" fmla="*/ 0 h 12"/>
                <a:gd name="T50" fmla="*/ 22225 w 19"/>
                <a:gd name="T51" fmla="*/ 0 h 12"/>
                <a:gd name="T52" fmla="*/ 19050 w 19"/>
                <a:gd name="T53" fmla="*/ 0 h 12"/>
                <a:gd name="T54" fmla="*/ 19050 w 19"/>
                <a:gd name="T55" fmla="*/ 0 h 12"/>
                <a:gd name="T56" fmla="*/ 19050 w 19"/>
                <a:gd name="T57" fmla="*/ 0 h 12"/>
                <a:gd name="T58" fmla="*/ 19050 w 19"/>
                <a:gd name="T59" fmla="*/ 0 h 12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9"/>
                <a:gd name="T91" fmla="*/ 0 h 12"/>
                <a:gd name="T92" fmla="*/ 19 w 19"/>
                <a:gd name="T93" fmla="*/ 12 h 12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9" h="12">
                  <a:moveTo>
                    <a:pt x="12" y="0"/>
                  </a:moveTo>
                  <a:lnTo>
                    <a:pt x="9" y="0"/>
                  </a:lnTo>
                  <a:lnTo>
                    <a:pt x="7" y="0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5" y="12"/>
                  </a:lnTo>
                  <a:lnTo>
                    <a:pt x="7" y="12"/>
                  </a:lnTo>
                  <a:lnTo>
                    <a:pt x="12" y="10"/>
                  </a:lnTo>
                  <a:lnTo>
                    <a:pt x="14" y="7"/>
                  </a:lnTo>
                  <a:lnTo>
                    <a:pt x="17" y="5"/>
                  </a:lnTo>
                  <a:lnTo>
                    <a:pt x="19" y="5"/>
                  </a:lnTo>
                  <a:lnTo>
                    <a:pt x="19" y="3"/>
                  </a:lnTo>
                  <a:lnTo>
                    <a:pt x="19" y="0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latin typeface="Arial" charset="0"/>
              </a:endParaRPr>
            </a:p>
          </p:txBody>
        </p:sp>
        <p:sp>
          <p:nvSpPr>
            <p:cNvPr id="38" name="Freeform 1918"/>
            <p:cNvSpPr>
              <a:spLocks/>
            </p:cNvSpPr>
            <p:nvPr/>
          </p:nvSpPr>
          <p:spPr bwMode="gray">
            <a:xfrm>
              <a:off x="4432309" y="3441133"/>
              <a:ext cx="284984" cy="332482"/>
            </a:xfrm>
            <a:custGeom>
              <a:avLst/>
              <a:gdLst>
                <a:gd name="T0" fmla="*/ 26988 w 24"/>
                <a:gd name="T1" fmla="*/ 0 h 28"/>
                <a:gd name="T2" fmla="*/ 19050 w 24"/>
                <a:gd name="T3" fmla="*/ 11113 h 28"/>
                <a:gd name="T4" fmla="*/ 19050 w 24"/>
                <a:gd name="T5" fmla="*/ 11113 h 28"/>
                <a:gd name="T6" fmla="*/ 19050 w 24"/>
                <a:gd name="T7" fmla="*/ 11113 h 28"/>
                <a:gd name="T8" fmla="*/ 19050 w 24"/>
                <a:gd name="T9" fmla="*/ 11113 h 28"/>
                <a:gd name="T10" fmla="*/ 22225 w 24"/>
                <a:gd name="T11" fmla="*/ 11113 h 28"/>
                <a:gd name="T12" fmla="*/ 19050 w 24"/>
                <a:gd name="T13" fmla="*/ 15875 h 28"/>
                <a:gd name="T14" fmla="*/ 22225 w 24"/>
                <a:gd name="T15" fmla="*/ 19050 h 28"/>
                <a:gd name="T16" fmla="*/ 11113 w 24"/>
                <a:gd name="T17" fmla="*/ 11113 h 28"/>
                <a:gd name="T18" fmla="*/ 4763 w 24"/>
                <a:gd name="T19" fmla="*/ 15875 h 28"/>
                <a:gd name="T20" fmla="*/ 0 w 24"/>
                <a:gd name="T21" fmla="*/ 22225 h 28"/>
                <a:gd name="T22" fmla="*/ 0 w 24"/>
                <a:gd name="T23" fmla="*/ 26988 h 28"/>
                <a:gd name="T24" fmla="*/ 4763 w 24"/>
                <a:gd name="T25" fmla="*/ 30163 h 28"/>
                <a:gd name="T26" fmla="*/ 4763 w 24"/>
                <a:gd name="T27" fmla="*/ 30163 h 28"/>
                <a:gd name="T28" fmla="*/ 7938 w 24"/>
                <a:gd name="T29" fmla="*/ 33338 h 28"/>
                <a:gd name="T30" fmla="*/ 7938 w 24"/>
                <a:gd name="T31" fmla="*/ 41275 h 28"/>
                <a:gd name="T32" fmla="*/ 11113 w 24"/>
                <a:gd name="T33" fmla="*/ 41275 h 28"/>
                <a:gd name="T34" fmla="*/ 11113 w 24"/>
                <a:gd name="T35" fmla="*/ 41275 h 28"/>
                <a:gd name="T36" fmla="*/ 11113 w 24"/>
                <a:gd name="T37" fmla="*/ 41275 h 28"/>
                <a:gd name="T38" fmla="*/ 11113 w 24"/>
                <a:gd name="T39" fmla="*/ 41275 h 28"/>
                <a:gd name="T40" fmla="*/ 15875 w 24"/>
                <a:gd name="T41" fmla="*/ 41275 h 28"/>
                <a:gd name="T42" fmla="*/ 19050 w 24"/>
                <a:gd name="T43" fmla="*/ 41275 h 28"/>
                <a:gd name="T44" fmla="*/ 22225 w 24"/>
                <a:gd name="T45" fmla="*/ 41275 h 28"/>
                <a:gd name="T46" fmla="*/ 19050 w 24"/>
                <a:gd name="T47" fmla="*/ 41275 h 28"/>
                <a:gd name="T48" fmla="*/ 19050 w 24"/>
                <a:gd name="T49" fmla="*/ 44450 h 28"/>
                <a:gd name="T50" fmla="*/ 15875 w 24"/>
                <a:gd name="T51" fmla="*/ 44450 h 28"/>
                <a:gd name="T52" fmla="*/ 15875 w 24"/>
                <a:gd name="T53" fmla="*/ 44450 h 28"/>
                <a:gd name="T54" fmla="*/ 19050 w 24"/>
                <a:gd name="T55" fmla="*/ 44450 h 28"/>
                <a:gd name="T56" fmla="*/ 22225 w 24"/>
                <a:gd name="T57" fmla="*/ 44450 h 28"/>
                <a:gd name="T58" fmla="*/ 26988 w 24"/>
                <a:gd name="T59" fmla="*/ 44450 h 28"/>
                <a:gd name="T60" fmla="*/ 26988 w 24"/>
                <a:gd name="T61" fmla="*/ 41275 h 28"/>
                <a:gd name="T62" fmla="*/ 26988 w 24"/>
                <a:gd name="T63" fmla="*/ 41275 h 28"/>
                <a:gd name="T64" fmla="*/ 26988 w 24"/>
                <a:gd name="T65" fmla="*/ 41275 h 28"/>
                <a:gd name="T66" fmla="*/ 26988 w 24"/>
                <a:gd name="T67" fmla="*/ 41275 h 28"/>
                <a:gd name="T68" fmla="*/ 26988 w 24"/>
                <a:gd name="T69" fmla="*/ 41275 h 28"/>
                <a:gd name="T70" fmla="*/ 38100 w 24"/>
                <a:gd name="T71" fmla="*/ 38100 h 28"/>
                <a:gd name="T72" fmla="*/ 38100 w 24"/>
                <a:gd name="T73" fmla="*/ 33338 h 28"/>
                <a:gd name="T74" fmla="*/ 38100 w 24"/>
                <a:gd name="T75" fmla="*/ 22225 h 28"/>
                <a:gd name="T76" fmla="*/ 38100 w 24"/>
                <a:gd name="T77" fmla="*/ 11113 h 28"/>
                <a:gd name="T78" fmla="*/ 38100 w 24"/>
                <a:gd name="T79" fmla="*/ 0 h 28"/>
                <a:gd name="T80" fmla="*/ 30163 w 24"/>
                <a:gd name="T81" fmla="*/ 0 h 28"/>
                <a:gd name="T82" fmla="*/ 26988 w 24"/>
                <a:gd name="T83" fmla="*/ 0 h 28"/>
                <a:gd name="T84" fmla="*/ 26988 w 24"/>
                <a:gd name="T85" fmla="*/ 0 h 28"/>
                <a:gd name="T86" fmla="*/ 26988 w 24"/>
                <a:gd name="T87" fmla="*/ 0 h 28"/>
                <a:gd name="T88" fmla="*/ 26988 w 24"/>
                <a:gd name="T89" fmla="*/ 0 h 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4"/>
                <a:gd name="T136" fmla="*/ 0 h 28"/>
                <a:gd name="T137" fmla="*/ 24 w 24"/>
                <a:gd name="T138" fmla="*/ 28 h 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4" h="28">
                  <a:moveTo>
                    <a:pt x="17" y="0"/>
                  </a:moveTo>
                  <a:lnTo>
                    <a:pt x="12" y="7"/>
                  </a:lnTo>
                  <a:lnTo>
                    <a:pt x="14" y="7"/>
                  </a:lnTo>
                  <a:lnTo>
                    <a:pt x="12" y="10"/>
                  </a:lnTo>
                  <a:lnTo>
                    <a:pt x="14" y="12"/>
                  </a:lnTo>
                  <a:lnTo>
                    <a:pt x="7" y="7"/>
                  </a:lnTo>
                  <a:lnTo>
                    <a:pt x="3" y="10"/>
                  </a:lnTo>
                  <a:lnTo>
                    <a:pt x="0" y="14"/>
                  </a:lnTo>
                  <a:lnTo>
                    <a:pt x="0" y="17"/>
                  </a:lnTo>
                  <a:lnTo>
                    <a:pt x="3" y="19"/>
                  </a:lnTo>
                  <a:lnTo>
                    <a:pt x="5" y="21"/>
                  </a:lnTo>
                  <a:lnTo>
                    <a:pt x="5" y="26"/>
                  </a:lnTo>
                  <a:lnTo>
                    <a:pt x="7" y="26"/>
                  </a:lnTo>
                  <a:lnTo>
                    <a:pt x="10" y="26"/>
                  </a:lnTo>
                  <a:lnTo>
                    <a:pt x="12" y="26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2" y="28"/>
                  </a:lnTo>
                  <a:lnTo>
                    <a:pt x="10" y="28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7" y="28"/>
                  </a:lnTo>
                  <a:lnTo>
                    <a:pt x="17" y="26"/>
                  </a:lnTo>
                  <a:lnTo>
                    <a:pt x="24" y="24"/>
                  </a:lnTo>
                  <a:lnTo>
                    <a:pt x="24" y="21"/>
                  </a:lnTo>
                  <a:lnTo>
                    <a:pt x="24" y="14"/>
                  </a:lnTo>
                  <a:lnTo>
                    <a:pt x="24" y="7"/>
                  </a:lnTo>
                  <a:lnTo>
                    <a:pt x="24" y="0"/>
                  </a:lnTo>
                  <a:lnTo>
                    <a:pt x="19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latin typeface="Arial" charset="0"/>
              </a:endParaRPr>
            </a:p>
          </p:txBody>
        </p:sp>
        <p:sp>
          <p:nvSpPr>
            <p:cNvPr id="39" name="Freeform 1919"/>
            <p:cNvSpPr>
              <a:spLocks/>
            </p:cNvSpPr>
            <p:nvPr/>
          </p:nvSpPr>
          <p:spPr bwMode="gray">
            <a:xfrm>
              <a:off x="4657917" y="4877927"/>
              <a:ext cx="706520" cy="700591"/>
            </a:xfrm>
            <a:custGeom>
              <a:avLst/>
              <a:gdLst/>
              <a:ahLst/>
              <a:cxnLst/>
              <a:rect l="l" t="t" r="r" b="b"/>
              <a:pathLst>
                <a:path w="94456" h="93663">
                  <a:moveTo>
                    <a:pt x="49213" y="0"/>
                  </a:moveTo>
                  <a:lnTo>
                    <a:pt x="60325" y="6350"/>
                  </a:lnTo>
                  <a:lnTo>
                    <a:pt x="68263" y="11113"/>
                  </a:lnTo>
                  <a:lnTo>
                    <a:pt x="71438" y="11113"/>
                  </a:lnTo>
                  <a:lnTo>
                    <a:pt x="82551" y="14288"/>
                  </a:lnTo>
                  <a:lnTo>
                    <a:pt x="85726" y="14288"/>
                  </a:lnTo>
                  <a:lnTo>
                    <a:pt x="85726" y="17463"/>
                  </a:lnTo>
                  <a:lnTo>
                    <a:pt x="90488" y="17463"/>
                  </a:lnTo>
                  <a:lnTo>
                    <a:pt x="93663" y="17463"/>
                  </a:lnTo>
                  <a:lnTo>
                    <a:pt x="94456" y="17463"/>
                  </a:lnTo>
                  <a:lnTo>
                    <a:pt x="94456" y="85726"/>
                  </a:lnTo>
                  <a:lnTo>
                    <a:pt x="93663" y="85726"/>
                  </a:lnTo>
                  <a:lnTo>
                    <a:pt x="90488" y="85726"/>
                  </a:lnTo>
                  <a:lnTo>
                    <a:pt x="85726" y="85726"/>
                  </a:lnTo>
                  <a:lnTo>
                    <a:pt x="82551" y="82551"/>
                  </a:lnTo>
                  <a:lnTo>
                    <a:pt x="82551" y="77788"/>
                  </a:lnTo>
                  <a:lnTo>
                    <a:pt x="79376" y="77788"/>
                  </a:lnTo>
                  <a:lnTo>
                    <a:pt x="74613" y="77788"/>
                  </a:lnTo>
                  <a:lnTo>
                    <a:pt x="71438" y="77788"/>
                  </a:lnTo>
                  <a:lnTo>
                    <a:pt x="68263" y="77788"/>
                  </a:lnTo>
                  <a:lnTo>
                    <a:pt x="63500" y="82551"/>
                  </a:lnTo>
                  <a:lnTo>
                    <a:pt x="60325" y="85726"/>
                  </a:lnTo>
                  <a:lnTo>
                    <a:pt x="57150" y="93663"/>
                  </a:lnTo>
                  <a:lnTo>
                    <a:pt x="52388" y="93663"/>
                  </a:lnTo>
                  <a:lnTo>
                    <a:pt x="49213" y="93663"/>
                  </a:lnTo>
                  <a:lnTo>
                    <a:pt x="44450" y="93663"/>
                  </a:lnTo>
                  <a:lnTo>
                    <a:pt x="41275" y="85726"/>
                  </a:lnTo>
                  <a:lnTo>
                    <a:pt x="38100" y="85726"/>
                  </a:lnTo>
                  <a:lnTo>
                    <a:pt x="30163" y="77788"/>
                  </a:lnTo>
                  <a:lnTo>
                    <a:pt x="26988" y="74613"/>
                  </a:lnTo>
                  <a:lnTo>
                    <a:pt x="22225" y="74613"/>
                  </a:lnTo>
                  <a:lnTo>
                    <a:pt x="19050" y="74613"/>
                  </a:lnTo>
                  <a:lnTo>
                    <a:pt x="19050" y="69850"/>
                  </a:lnTo>
                  <a:lnTo>
                    <a:pt x="15875" y="69850"/>
                  </a:lnTo>
                  <a:lnTo>
                    <a:pt x="15875" y="66675"/>
                  </a:lnTo>
                  <a:lnTo>
                    <a:pt x="15875" y="63500"/>
                  </a:lnTo>
                  <a:lnTo>
                    <a:pt x="15875" y="58738"/>
                  </a:lnTo>
                  <a:lnTo>
                    <a:pt x="15875" y="55563"/>
                  </a:lnTo>
                  <a:lnTo>
                    <a:pt x="11113" y="52388"/>
                  </a:lnTo>
                  <a:lnTo>
                    <a:pt x="7938" y="47625"/>
                  </a:lnTo>
                  <a:lnTo>
                    <a:pt x="4763" y="44450"/>
                  </a:lnTo>
                  <a:lnTo>
                    <a:pt x="4763" y="41275"/>
                  </a:lnTo>
                  <a:lnTo>
                    <a:pt x="0" y="36513"/>
                  </a:lnTo>
                  <a:lnTo>
                    <a:pt x="0" y="33338"/>
                  </a:lnTo>
                  <a:lnTo>
                    <a:pt x="0" y="30163"/>
                  </a:lnTo>
                  <a:lnTo>
                    <a:pt x="4763" y="30163"/>
                  </a:lnTo>
                  <a:lnTo>
                    <a:pt x="7938" y="25400"/>
                  </a:lnTo>
                  <a:lnTo>
                    <a:pt x="11113" y="25400"/>
                  </a:lnTo>
                  <a:lnTo>
                    <a:pt x="15875" y="25400"/>
                  </a:lnTo>
                  <a:lnTo>
                    <a:pt x="15875" y="22225"/>
                  </a:lnTo>
                  <a:lnTo>
                    <a:pt x="19050" y="22225"/>
                  </a:lnTo>
                  <a:lnTo>
                    <a:pt x="19050" y="17463"/>
                  </a:lnTo>
                  <a:lnTo>
                    <a:pt x="22225" y="17463"/>
                  </a:lnTo>
                  <a:lnTo>
                    <a:pt x="22225" y="14288"/>
                  </a:lnTo>
                  <a:lnTo>
                    <a:pt x="26988" y="14288"/>
                  </a:lnTo>
                  <a:lnTo>
                    <a:pt x="33338" y="11113"/>
                  </a:lnTo>
                  <a:lnTo>
                    <a:pt x="44450" y="3175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latin typeface="Arial" charset="0"/>
              </a:endParaRPr>
            </a:p>
          </p:txBody>
        </p:sp>
        <p:sp>
          <p:nvSpPr>
            <p:cNvPr id="40" name="Freeform 2041"/>
            <p:cNvSpPr>
              <a:spLocks/>
            </p:cNvSpPr>
            <p:nvPr/>
          </p:nvSpPr>
          <p:spPr bwMode="gray">
            <a:xfrm>
              <a:off x="2781782" y="4842309"/>
              <a:ext cx="759957" cy="474974"/>
            </a:xfrm>
            <a:custGeom>
              <a:avLst/>
              <a:gdLst>
                <a:gd name="T0" fmla="*/ 7938 w 64"/>
                <a:gd name="T1" fmla="*/ 11113 h 40"/>
                <a:gd name="T2" fmla="*/ 7938 w 64"/>
                <a:gd name="T3" fmla="*/ 11113 h 40"/>
                <a:gd name="T4" fmla="*/ 11113 w 64"/>
                <a:gd name="T5" fmla="*/ 11113 h 40"/>
                <a:gd name="T6" fmla="*/ 11113 w 64"/>
                <a:gd name="T7" fmla="*/ 15875 h 40"/>
                <a:gd name="T8" fmla="*/ 14288 w 64"/>
                <a:gd name="T9" fmla="*/ 26988 h 40"/>
                <a:gd name="T10" fmla="*/ 19050 w 64"/>
                <a:gd name="T11" fmla="*/ 26988 h 40"/>
                <a:gd name="T12" fmla="*/ 25400 w 64"/>
                <a:gd name="T13" fmla="*/ 34925 h 40"/>
                <a:gd name="T14" fmla="*/ 30163 w 64"/>
                <a:gd name="T15" fmla="*/ 38100 h 40"/>
                <a:gd name="T16" fmla="*/ 33338 w 64"/>
                <a:gd name="T17" fmla="*/ 38100 h 40"/>
                <a:gd name="T18" fmla="*/ 38100 w 64"/>
                <a:gd name="T19" fmla="*/ 34925 h 40"/>
                <a:gd name="T20" fmla="*/ 38100 w 64"/>
                <a:gd name="T21" fmla="*/ 38100 h 40"/>
                <a:gd name="T22" fmla="*/ 38100 w 64"/>
                <a:gd name="T23" fmla="*/ 41275 h 40"/>
                <a:gd name="T24" fmla="*/ 41275 w 64"/>
                <a:gd name="T25" fmla="*/ 46038 h 40"/>
                <a:gd name="T26" fmla="*/ 49213 w 64"/>
                <a:gd name="T27" fmla="*/ 49213 h 40"/>
                <a:gd name="T28" fmla="*/ 55563 w 64"/>
                <a:gd name="T29" fmla="*/ 52388 h 40"/>
                <a:gd name="T30" fmla="*/ 60325 w 64"/>
                <a:gd name="T31" fmla="*/ 52388 h 40"/>
                <a:gd name="T32" fmla="*/ 63500 w 64"/>
                <a:gd name="T33" fmla="*/ 49213 h 40"/>
                <a:gd name="T34" fmla="*/ 66675 w 64"/>
                <a:gd name="T35" fmla="*/ 49213 h 40"/>
                <a:gd name="T36" fmla="*/ 66675 w 64"/>
                <a:gd name="T37" fmla="*/ 52388 h 40"/>
                <a:gd name="T38" fmla="*/ 66675 w 64"/>
                <a:gd name="T39" fmla="*/ 60325 h 40"/>
                <a:gd name="T40" fmla="*/ 66675 w 64"/>
                <a:gd name="T41" fmla="*/ 63500 h 40"/>
                <a:gd name="T42" fmla="*/ 71438 w 64"/>
                <a:gd name="T43" fmla="*/ 63500 h 40"/>
                <a:gd name="T44" fmla="*/ 77788 w 64"/>
                <a:gd name="T45" fmla="*/ 63500 h 40"/>
                <a:gd name="T46" fmla="*/ 90488 w 64"/>
                <a:gd name="T47" fmla="*/ 60325 h 40"/>
                <a:gd name="T48" fmla="*/ 93663 w 64"/>
                <a:gd name="T49" fmla="*/ 52388 h 40"/>
                <a:gd name="T50" fmla="*/ 90488 w 64"/>
                <a:gd name="T51" fmla="*/ 49213 h 40"/>
                <a:gd name="T52" fmla="*/ 93663 w 64"/>
                <a:gd name="T53" fmla="*/ 46038 h 40"/>
                <a:gd name="T54" fmla="*/ 96838 w 64"/>
                <a:gd name="T55" fmla="*/ 46038 h 40"/>
                <a:gd name="T56" fmla="*/ 101600 w 64"/>
                <a:gd name="T57" fmla="*/ 38100 h 40"/>
                <a:gd name="T58" fmla="*/ 96838 w 64"/>
                <a:gd name="T59" fmla="*/ 30163 h 40"/>
                <a:gd name="T60" fmla="*/ 96838 w 64"/>
                <a:gd name="T61" fmla="*/ 30163 h 40"/>
                <a:gd name="T62" fmla="*/ 93663 w 64"/>
                <a:gd name="T63" fmla="*/ 26988 h 40"/>
                <a:gd name="T64" fmla="*/ 93663 w 64"/>
                <a:gd name="T65" fmla="*/ 26988 h 40"/>
                <a:gd name="T66" fmla="*/ 93663 w 64"/>
                <a:gd name="T67" fmla="*/ 22225 h 40"/>
                <a:gd name="T68" fmla="*/ 96838 w 64"/>
                <a:gd name="T69" fmla="*/ 22225 h 40"/>
                <a:gd name="T70" fmla="*/ 96838 w 64"/>
                <a:gd name="T71" fmla="*/ 22225 h 40"/>
                <a:gd name="T72" fmla="*/ 96838 w 64"/>
                <a:gd name="T73" fmla="*/ 19050 h 40"/>
                <a:gd name="T74" fmla="*/ 93663 w 64"/>
                <a:gd name="T75" fmla="*/ 19050 h 40"/>
                <a:gd name="T76" fmla="*/ 85725 w 64"/>
                <a:gd name="T77" fmla="*/ 15875 h 40"/>
                <a:gd name="T78" fmla="*/ 82550 w 64"/>
                <a:gd name="T79" fmla="*/ 15875 h 40"/>
                <a:gd name="T80" fmla="*/ 77788 w 64"/>
                <a:gd name="T81" fmla="*/ 11113 h 40"/>
                <a:gd name="T82" fmla="*/ 74613 w 64"/>
                <a:gd name="T83" fmla="*/ 11113 h 40"/>
                <a:gd name="T84" fmla="*/ 74613 w 64"/>
                <a:gd name="T85" fmla="*/ 7938 h 40"/>
                <a:gd name="T86" fmla="*/ 74613 w 64"/>
                <a:gd name="T87" fmla="*/ 4763 h 40"/>
                <a:gd name="T88" fmla="*/ 66675 w 64"/>
                <a:gd name="T89" fmla="*/ 7938 h 40"/>
                <a:gd name="T90" fmla="*/ 63500 w 64"/>
                <a:gd name="T91" fmla="*/ 7938 h 40"/>
                <a:gd name="T92" fmla="*/ 60325 w 64"/>
                <a:gd name="T93" fmla="*/ 7938 h 40"/>
                <a:gd name="T94" fmla="*/ 55563 w 64"/>
                <a:gd name="T95" fmla="*/ 11113 h 40"/>
                <a:gd name="T96" fmla="*/ 52388 w 64"/>
                <a:gd name="T97" fmla="*/ 11113 h 40"/>
                <a:gd name="T98" fmla="*/ 44450 w 64"/>
                <a:gd name="T99" fmla="*/ 11113 h 40"/>
                <a:gd name="T100" fmla="*/ 38100 w 64"/>
                <a:gd name="T101" fmla="*/ 7938 h 40"/>
                <a:gd name="T102" fmla="*/ 33338 w 64"/>
                <a:gd name="T103" fmla="*/ 0 h 40"/>
                <a:gd name="T104" fmla="*/ 22225 w 64"/>
                <a:gd name="T105" fmla="*/ 0 h 40"/>
                <a:gd name="T106" fmla="*/ 7938 w 64"/>
                <a:gd name="T107" fmla="*/ 4763 h 40"/>
                <a:gd name="T108" fmla="*/ 0 w 64"/>
                <a:gd name="T109" fmla="*/ 7938 h 40"/>
                <a:gd name="T110" fmla="*/ 0 w 64"/>
                <a:gd name="T111" fmla="*/ 7938 h 4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4"/>
                <a:gd name="T169" fmla="*/ 0 h 40"/>
                <a:gd name="T170" fmla="*/ 64 w 64"/>
                <a:gd name="T171" fmla="*/ 40 h 4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4" h="40">
                  <a:moveTo>
                    <a:pt x="0" y="5"/>
                  </a:moveTo>
                  <a:lnTo>
                    <a:pt x="5" y="7"/>
                  </a:lnTo>
                  <a:lnTo>
                    <a:pt x="7" y="7"/>
                  </a:lnTo>
                  <a:lnTo>
                    <a:pt x="7" y="10"/>
                  </a:lnTo>
                  <a:lnTo>
                    <a:pt x="9" y="14"/>
                  </a:lnTo>
                  <a:lnTo>
                    <a:pt x="9" y="17"/>
                  </a:lnTo>
                  <a:lnTo>
                    <a:pt x="12" y="17"/>
                  </a:lnTo>
                  <a:lnTo>
                    <a:pt x="14" y="19"/>
                  </a:lnTo>
                  <a:lnTo>
                    <a:pt x="16" y="22"/>
                  </a:lnTo>
                  <a:lnTo>
                    <a:pt x="19" y="24"/>
                  </a:lnTo>
                  <a:lnTo>
                    <a:pt x="21" y="24"/>
                  </a:lnTo>
                  <a:lnTo>
                    <a:pt x="24" y="24"/>
                  </a:lnTo>
                  <a:lnTo>
                    <a:pt x="24" y="22"/>
                  </a:lnTo>
                  <a:lnTo>
                    <a:pt x="24" y="24"/>
                  </a:lnTo>
                  <a:lnTo>
                    <a:pt x="24" y="26"/>
                  </a:lnTo>
                  <a:lnTo>
                    <a:pt x="26" y="26"/>
                  </a:lnTo>
                  <a:lnTo>
                    <a:pt x="26" y="29"/>
                  </a:lnTo>
                  <a:lnTo>
                    <a:pt x="28" y="31"/>
                  </a:lnTo>
                  <a:lnTo>
                    <a:pt x="31" y="31"/>
                  </a:lnTo>
                  <a:lnTo>
                    <a:pt x="33" y="33"/>
                  </a:lnTo>
                  <a:lnTo>
                    <a:pt x="35" y="33"/>
                  </a:lnTo>
                  <a:lnTo>
                    <a:pt x="38" y="33"/>
                  </a:lnTo>
                  <a:lnTo>
                    <a:pt x="40" y="31"/>
                  </a:lnTo>
                  <a:lnTo>
                    <a:pt x="42" y="31"/>
                  </a:lnTo>
                  <a:lnTo>
                    <a:pt x="42" y="33"/>
                  </a:lnTo>
                  <a:lnTo>
                    <a:pt x="42" y="36"/>
                  </a:lnTo>
                  <a:lnTo>
                    <a:pt x="42" y="38"/>
                  </a:lnTo>
                  <a:lnTo>
                    <a:pt x="42" y="40"/>
                  </a:lnTo>
                  <a:lnTo>
                    <a:pt x="45" y="40"/>
                  </a:lnTo>
                  <a:lnTo>
                    <a:pt x="49" y="40"/>
                  </a:lnTo>
                  <a:lnTo>
                    <a:pt x="57" y="38"/>
                  </a:lnTo>
                  <a:lnTo>
                    <a:pt x="57" y="36"/>
                  </a:lnTo>
                  <a:lnTo>
                    <a:pt x="59" y="33"/>
                  </a:lnTo>
                  <a:lnTo>
                    <a:pt x="57" y="31"/>
                  </a:lnTo>
                  <a:lnTo>
                    <a:pt x="59" y="31"/>
                  </a:lnTo>
                  <a:lnTo>
                    <a:pt x="59" y="29"/>
                  </a:lnTo>
                  <a:lnTo>
                    <a:pt x="61" y="29"/>
                  </a:lnTo>
                  <a:lnTo>
                    <a:pt x="64" y="24"/>
                  </a:lnTo>
                  <a:lnTo>
                    <a:pt x="61" y="22"/>
                  </a:lnTo>
                  <a:lnTo>
                    <a:pt x="61" y="19"/>
                  </a:lnTo>
                  <a:lnTo>
                    <a:pt x="59" y="19"/>
                  </a:lnTo>
                  <a:lnTo>
                    <a:pt x="59" y="17"/>
                  </a:lnTo>
                  <a:lnTo>
                    <a:pt x="59" y="14"/>
                  </a:lnTo>
                  <a:lnTo>
                    <a:pt x="61" y="14"/>
                  </a:lnTo>
                  <a:lnTo>
                    <a:pt x="61" y="12"/>
                  </a:lnTo>
                  <a:lnTo>
                    <a:pt x="59" y="12"/>
                  </a:lnTo>
                  <a:lnTo>
                    <a:pt x="57" y="12"/>
                  </a:lnTo>
                  <a:lnTo>
                    <a:pt x="54" y="10"/>
                  </a:lnTo>
                  <a:lnTo>
                    <a:pt x="52" y="10"/>
                  </a:lnTo>
                  <a:lnTo>
                    <a:pt x="49" y="7"/>
                  </a:lnTo>
                  <a:lnTo>
                    <a:pt x="47" y="7"/>
                  </a:lnTo>
                  <a:lnTo>
                    <a:pt x="47" y="5"/>
                  </a:lnTo>
                  <a:lnTo>
                    <a:pt x="47" y="3"/>
                  </a:lnTo>
                  <a:lnTo>
                    <a:pt x="45" y="3"/>
                  </a:lnTo>
                  <a:lnTo>
                    <a:pt x="42" y="5"/>
                  </a:lnTo>
                  <a:lnTo>
                    <a:pt x="40" y="5"/>
                  </a:lnTo>
                  <a:lnTo>
                    <a:pt x="38" y="5"/>
                  </a:lnTo>
                  <a:lnTo>
                    <a:pt x="35" y="5"/>
                  </a:lnTo>
                  <a:lnTo>
                    <a:pt x="35" y="7"/>
                  </a:lnTo>
                  <a:lnTo>
                    <a:pt x="33" y="7"/>
                  </a:lnTo>
                  <a:lnTo>
                    <a:pt x="31" y="7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5"/>
                  </a:lnTo>
                  <a:lnTo>
                    <a:pt x="21" y="3"/>
                  </a:lnTo>
                  <a:lnTo>
                    <a:pt x="21" y="0"/>
                  </a:lnTo>
                  <a:lnTo>
                    <a:pt x="14" y="0"/>
                  </a:lnTo>
                  <a:lnTo>
                    <a:pt x="9" y="0"/>
                  </a:lnTo>
                  <a:lnTo>
                    <a:pt x="5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latin typeface="Arial" charset="0"/>
              </a:endParaRPr>
            </a:p>
          </p:txBody>
        </p:sp>
        <p:sp>
          <p:nvSpPr>
            <p:cNvPr id="41" name="Freeform 2047"/>
            <p:cNvSpPr>
              <a:spLocks/>
            </p:cNvSpPr>
            <p:nvPr/>
          </p:nvSpPr>
          <p:spPr bwMode="gray">
            <a:xfrm>
              <a:off x="4266061" y="5459775"/>
              <a:ext cx="1098377" cy="522472"/>
            </a:xfrm>
            <a:custGeom>
              <a:avLst/>
              <a:gdLst/>
              <a:ahLst/>
              <a:cxnLst/>
              <a:rect l="l" t="t" r="r" b="b"/>
              <a:pathLst>
                <a:path w="146844" h="69850">
                  <a:moveTo>
                    <a:pt x="120651" y="0"/>
                  </a:moveTo>
                  <a:lnTo>
                    <a:pt x="123826" y="0"/>
                  </a:lnTo>
                  <a:lnTo>
                    <a:pt x="127001" y="0"/>
                  </a:lnTo>
                  <a:lnTo>
                    <a:pt x="131763" y="0"/>
                  </a:lnTo>
                  <a:lnTo>
                    <a:pt x="134938" y="4763"/>
                  </a:lnTo>
                  <a:lnTo>
                    <a:pt x="138113" y="7938"/>
                  </a:lnTo>
                  <a:lnTo>
                    <a:pt x="142876" y="7938"/>
                  </a:lnTo>
                  <a:lnTo>
                    <a:pt x="146051" y="7938"/>
                  </a:lnTo>
                  <a:lnTo>
                    <a:pt x="146051" y="11113"/>
                  </a:lnTo>
                  <a:lnTo>
                    <a:pt x="146844" y="11113"/>
                  </a:lnTo>
                  <a:lnTo>
                    <a:pt x="146844" y="69850"/>
                  </a:lnTo>
                  <a:lnTo>
                    <a:pt x="0" y="69850"/>
                  </a:lnTo>
                  <a:lnTo>
                    <a:pt x="0" y="68263"/>
                  </a:lnTo>
                  <a:lnTo>
                    <a:pt x="3175" y="63500"/>
                  </a:lnTo>
                  <a:lnTo>
                    <a:pt x="7938" y="60325"/>
                  </a:lnTo>
                  <a:lnTo>
                    <a:pt x="11113" y="57150"/>
                  </a:lnTo>
                  <a:lnTo>
                    <a:pt x="19050" y="57150"/>
                  </a:lnTo>
                  <a:lnTo>
                    <a:pt x="26988" y="57150"/>
                  </a:lnTo>
                  <a:lnTo>
                    <a:pt x="26988" y="52388"/>
                  </a:lnTo>
                  <a:lnTo>
                    <a:pt x="30163" y="52388"/>
                  </a:lnTo>
                  <a:lnTo>
                    <a:pt x="33338" y="49213"/>
                  </a:lnTo>
                  <a:lnTo>
                    <a:pt x="44450" y="49213"/>
                  </a:lnTo>
                  <a:lnTo>
                    <a:pt x="52388" y="49213"/>
                  </a:lnTo>
                  <a:lnTo>
                    <a:pt x="57150" y="49213"/>
                  </a:lnTo>
                  <a:lnTo>
                    <a:pt x="60325" y="52388"/>
                  </a:lnTo>
                  <a:lnTo>
                    <a:pt x="63500" y="57150"/>
                  </a:lnTo>
                  <a:lnTo>
                    <a:pt x="68263" y="57150"/>
                  </a:lnTo>
                  <a:lnTo>
                    <a:pt x="71438" y="52388"/>
                  </a:lnTo>
                  <a:lnTo>
                    <a:pt x="71438" y="49213"/>
                  </a:lnTo>
                  <a:lnTo>
                    <a:pt x="71438" y="46038"/>
                  </a:lnTo>
                  <a:lnTo>
                    <a:pt x="68263" y="41275"/>
                  </a:lnTo>
                  <a:lnTo>
                    <a:pt x="68263" y="38100"/>
                  </a:lnTo>
                  <a:lnTo>
                    <a:pt x="63500" y="38100"/>
                  </a:lnTo>
                  <a:lnTo>
                    <a:pt x="60325" y="38100"/>
                  </a:lnTo>
                  <a:lnTo>
                    <a:pt x="63500" y="33338"/>
                  </a:lnTo>
                  <a:lnTo>
                    <a:pt x="68263" y="30163"/>
                  </a:lnTo>
                  <a:lnTo>
                    <a:pt x="71438" y="30163"/>
                  </a:lnTo>
                  <a:lnTo>
                    <a:pt x="74613" y="30163"/>
                  </a:lnTo>
                  <a:lnTo>
                    <a:pt x="79375" y="26988"/>
                  </a:lnTo>
                  <a:lnTo>
                    <a:pt x="79375" y="22225"/>
                  </a:lnTo>
                  <a:lnTo>
                    <a:pt x="79375" y="19050"/>
                  </a:lnTo>
                  <a:lnTo>
                    <a:pt x="82550" y="15875"/>
                  </a:lnTo>
                  <a:lnTo>
                    <a:pt x="82550" y="11113"/>
                  </a:lnTo>
                  <a:lnTo>
                    <a:pt x="85725" y="11113"/>
                  </a:lnTo>
                  <a:lnTo>
                    <a:pt x="90488" y="7938"/>
                  </a:lnTo>
                  <a:lnTo>
                    <a:pt x="93663" y="11113"/>
                  </a:lnTo>
                  <a:lnTo>
                    <a:pt x="96838" y="15875"/>
                  </a:lnTo>
                  <a:lnTo>
                    <a:pt x="101601" y="15875"/>
                  </a:lnTo>
                  <a:lnTo>
                    <a:pt x="104776" y="15875"/>
                  </a:lnTo>
                  <a:lnTo>
                    <a:pt x="109538" y="15875"/>
                  </a:lnTo>
                  <a:lnTo>
                    <a:pt x="112713" y="7938"/>
                  </a:lnTo>
                  <a:lnTo>
                    <a:pt x="115888" y="4763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latin typeface="Arial" charset="0"/>
              </a:endParaRPr>
            </a:p>
          </p:txBody>
        </p:sp>
      </p:grpSp>
      <p:pic>
        <p:nvPicPr>
          <p:cNvPr id="44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025019" y="3848467"/>
            <a:ext cx="172719" cy="145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354030" y="3819035"/>
            <a:ext cx="172719" cy="145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199124" y="3754301"/>
            <a:ext cx="172719" cy="145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394325" y="3508541"/>
            <a:ext cx="176213" cy="148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23" descr="M:\info\lped\- Grafisk Support\Generation\Powerpoint\- art\i_offshoreVin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375556" y="3900107"/>
            <a:ext cx="176213" cy="135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TextBox 55"/>
          <p:cNvSpPr txBox="1"/>
          <p:nvPr/>
        </p:nvSpPr>
        <p:spPr bwMode="gray">
          <a:xfrm>
            <a:off x="1079869" y="3341547"/>
            <a:ext cx="759823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Walney Extension</a:t>
            </a:r>
          </a:p>
        </p:txBody>
      </p:sp>
      <p:sp>
        <p:nvSpPr>
          <p:cNvPr id="57" name="TextBox 56"/>
          <p:cNvSpPr txBox="1"/>
          <p:nvPr/>
        </p:nvSpPr>
        <p:spPr bwMode="gray">
          <a:xfrm>
            <a:off x="2526658" y="3228181"/>
            <a:ext cx="554639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Walney 1 + 2</a:t>
            </a:r>
          </a:p>
        </p:txBody>
      </p:sp>
      <p:sp>
        <p:nvSpPr>
          <p:cNvPr id="59" name="TextBox 58"/>
          <p:cNvSpPr txBox="1"/>
          <p:nvPr/>
        </p:nvSpPr>
        <p:spPr bwMode="gray">
          <a:xfrm>
            <a:off x="2948874" y="3400567"/>
            <a:ext cx="532197" cy="2271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Westermost </a:t>
            </a:r>
            <a:br>
              <a:rPr lang="en-GB" sz="738" dirty="0"/>
            </a:br>
            <a:r>
              <a:rPr lang="en-GB" sz="738" dirty="0"/>
              <a:t>Rough</a:t>
            </a:r>
          </a:p>
        </p:txBody>
      </p:sp>
      <p:sp>
        <p:nvSpPr>
          <p:cNvPr id="60" name="TextBox 59"/>
          <p:cNvSpPr txBox="1"/>
          <p:nvPr/>
        </p:nvSpPr>
        <p:spPr bwMode="gray">
          <a:xfrm>
            <a:off x="1079869" y="3811008"/>
            <a:ext cx="461665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Isle of Man</a:t>
            </a:r>
          </a:p>
        </p:txBody>
      </p:sp>
      <p:sp>
        <p:nvSpPr>
          <p:cNvPr id="61" name="TextBox 60"/>
          <p:cNvSpPr txBox="1"/>
          <p:nvPr/>
        </p:nvSpPr>
        <p:spPr bwMode="gray">
          <a:xfrm>
            <a:off x="1079868" y="3567715"/>
            <a:ext cx="1025918" cy="1135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738" dirty="0"/>
              <a:t>West of Duddon Sands</a:t>
            </a:r>
          </a:p>
        </p:txBody>
      </p:sp>
      <p:sp>
        <p:nvSpPr>
          <p:cNvPr id="62" name="TextBox 61"/>
          <p:cNvSpPr txBox="1"/>
          <p:nvPr/>
        </p:nvSpPr>
        <p:spPr bwMode="gray">
          <a:xfrm>
            <a:off x="1079869" y="4054303"/>
            <a:ext cx="301365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Barrow</a:t>
            </a:r>
          </a:p>
        </p:txBody>
      </p:sp>
      <p:sp>
        <p:nvSpPr>
          <p:cNvPr id="63" name="TextBox 62"/>
          <p:cNvSpPr txBox="1"/>
          <p:nvPr/>
        </p:nvSpPr>
        <p:spPr bwMode="gray">
          <a:xfrm>
            <a:off x="1079868" y="4297598"/>
            <a:ext cx="682879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Burbo Bank Ext.</a:t>
            </a:r>
          </a:p>
        </p:txBody>
      </p:sp>
      <p:sp>
        <p:nvSpPr>
          <p:cNvPr id="64" name="TextBox 63"/>
          <p:cNvSpPr txBox="1"/>
          <p:nvPr/>
        </p:nvSpPr>
        <p:spPr bwMode="gray">
          <a:xfrm>
            <a:off x="1722235" y="4430593"/>
            <a:ext cx="495328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Burbo Bank</a:t>
            </a:r>
          </a:p>
        </p:txBody>
      </p:sp>
      <p:sp>
        <p:nvSpPr>
          <p:cNvPr id="65" name="TextBox 64"/>
          <p:cNvSpPr txBox="1"/>
          <p:nvPr/>
        </p:nvSpPr>
        <p:spPr bwMode="gray">
          <a:xfrm>
            <a:off x="2338356" y="4582616"/>
            <a:ext cx="730969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Gunfleet Sands 3</a:t>
            </a:r>
          </a:p>
        </p:txBody>
      </p:sp>
      <p:sp>
        <p:nvSpPr>
          <p:cNvPr id="66" name="TextBox 65"/>
          <p:cNvSpPr txBox="1"/>
          <p:nvPr/>
        </p:nvSpPr>
        <p:spPr bwMode="gray">
          <a:xfrm>
            <a:off x="2616688" y="4206506"/>
            <a:ext cx="930902" cy="1135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738" dirty="0"/>
              <a:t>Gunfleet Sands 1 + 2</a:t>
            </a:r>
          </a:p>
        </p:txBody>
      </p:sp>
      <p:sp>
        <p:nvSpPr>
          <p:cNvPr id="67" name="TextBox 66"/>
          <p:cNvSpPr txBox="1"/>
          <p:nvPr/>
        </p:nvSpPr>
        <p:spPr bwMode="gray">
          <a:xfrm>
            <a:off x="2944416" y="3964152"/>
            <a:ext cx="222818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Lincs</a:t>
            </a:r>
          </a:p>
        </p:txBody>
      </p:sp>
      <p:sp>
        <p:nvSpPr>
          <p:cNvPr id="70" name="TextBox 69"/>
          <p:cNvSpPr txBox="1"/>
          <p:nvPr/>
        </p:nvSpPr>
        <p:spPr bwMode="gray">
          <a:xfrm>
            <a:off x="3036977" y="4705047"/>
            <a:ext cx="570669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London Array</a:t>
            </a:r>
          </a:p>
        </p:txBody>
      </p:sp>
      <p:sp>
        <p:nvSpPr>
          <p:cNvPr id="71" name="TextBox 70"/>
          <p:cNvSpPr txBox="1"/>
          <p:nvPr/>
        </p:nvSpPr>
        <p:spPr bwMode="gray">
          <a:xfrm>
            <a:off x="3515770" y="3826122"/>
            <a:ext cx="464871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Race Bank</a:t>
            </a:r>
          </a:p>
        </p:txBody>
      </p:sp>
      <p:sp>
        <p:nvSpPr>
          <p:cNvPr id="72" name="TextBox 71"/>
          <p:cNvSpPr txBox="1"/>
          <p:nvPr/>
        </p:nvSpPr>
        <p:spPr bwMode="gray">
          <a:xfrm>
            <a:off x="3766609" y="3248183"/>
            <a:ext cx="687689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Horns Rev 1 + 2</a:t>
            </a:r>
          </a:p>
        </p:txBody>
      </p:sp>
      <p:sp>
        <p:nvSpPr>
          <p:cNvPr id="73" name="TextBox 72"/>
          <p:cNvSpPr txBox="1"/>
          <p:nvPr/>
        </p:nvSpPr>
        <p:spPr bwMode="gray">
          <a:xfrm>
            <a:off x="3390717" y="3532896"/>
            <a:ext cx="439223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Hornsea 1</a:t>
            </a:r>
          </a:p>
        </p:txBody>
      </p:sp>
      <p:sp>
        <p:nvSpPr>
          <p:cNvPr id="74" name="TextBox 73"/>
          <p:cNvSpPr txBox="1"/>
          <p:nvPr/>
        </p:nvSpPr>
        <p:spPr bwMode="gray">
          <a:xfrm>
            <a:off x="4973691" y="2977756"/>
            <a:ext cx="267702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Anholt</a:t>
            </a:r>
          </a:p>
        </p:txBody>
      </p:sp>
      <p:sp>
        <p:nvSpPr>
          <p:cNvPr id="75" name="TextBox 74"/>
          <p:cNvSpPr txBox="1"/>
          <p:nvPr/>
        </p:nvSpPr>
        <p:spPr bwMode="gray">
          <a:xfrm>
            <a:off x="5185105" y="3149603"/>
            <a:ext cx="628377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Middelgrunden</a:t>
            </a:r>
          </a:p>
        </p:txBody>
      </p:sp>
      <p:sp>
        <p:nvSpPr>
          <p:cNvPr id="76" name="TextBox 75"/>
          <p:cNvSpPr txBox="1"/>
          <p:nvPr/>
        </p:nvSpPr>
        <p:spPr bwMode="gray">
          <a:xfrm>
            <a:off x="5080961" y="3508365"/>
            <a:ext cx="343043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Vindeby</a:t>
            </a:r>
          </a:p>
        </p:txBody>
      </p:sp>
      <p:sp>
        <p:nvSpPr>
          <p:cNvPr id="77" name="TextBox 76"/>
          <p:cNvSpPr txBox="1"/>
          <p:nvPr/>
        </p:nvSpPr>
        <p:spPr bwMode="gray">
          <a:xfrm>
            <a:off x="5240255" y="3765309"/>
            <a:ext cx="296556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Nysted</a:t>
            </a:r>
          </a:p>
        </p:txBody>
      </p:sp>
      <p:sp>
        <p:nvSpPr>
          <p:cNvPr id="78" name="TextBox 77"/>
          <p:cNvSpPr txBox="1"/>
          <p:nvPr/>
        </p:nvSpPr>
        <p:spPr bwMode="gray">
          <a:xfrm>
            <a:off x="4347955" y="4674724"/>
            <a:ext cx="670055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German Cluster</a:t>
            </a:r>
          </a:p>
        </p:txBody>
      </p:sp>
      <p:sp>
        <p:nvSpPr>
          <p:cNvPr id="79" name="TextBox 78"/>
          <p:cNvSpPr txBox="1"/>
          <p:nvPr/>
        </p:nvSpPr>
        <p:spPr bwMode="gray">
          <a:xfrm>
            <a:off x="4346226" y="4531658"/>
            <a:ext cx="815929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Borkum Riffgrund 2</a:t>
            </a:r>
          </a:p>
        </p:txBody>
      </p:sp>
      <p:sp>
        <p:nvSpPr>
          <p:cNvPr id="80" name="TextBox 79"/>
          <p:cNvSpPr txBox="1"/>
          <p:nvPr/>
        </p:nvSpPr>
        <p:spPr bwMode="gray">
          <a:xfrm>
            <a:off x="4440388" y="4351542"/>
            <a:ext cx="815929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Borkum Riffgrund 1</a:t>
            </a:r>
          </a:p>
        </p:txBody>
      </p:sp>
      <p:sp>
        <p:nvSpPr>
          <p:cNvPr id="81" name="TextBox 80"/>
          <p:cNvSpPr txBox="1"/>
          <p:nvPr/>
        </p:nvSpPr>
        <p:spPr bwMode="gray">
          <a:xfrm>
            <a:off x="4568449" y="4195126"/>
            <a:ext cx="553037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Gode Wind 1</a:t>
            </a:r>
          </a:p>
        </p:txBody>
      </p:sp>
      <p:sp>
        <p:nvSpPr>
          <p:cNvPr id="82" name="TextBox 81"/>
          <p:cNvSpPr txBox="1"/>
          <p:nvPr/>
        </p:nvSpPr>
        <p:spPr bwMode="gray">
          <a:xfrm>
            <a:off x="4602347" y="4010268"/>
            <a:ext cx="553037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Gode Wind 3</a:t>
            </a:r>
          </a:p>
        </p:txBody>
      </p:sp>
      <p:sp>
        <p:nvSpPr>
          <p:cNvPr id="83" name="TextBox 82"/>
          <p:cNvSpPr txBox="1"/>
          <p:nvPr/>
        </p:nvSpPr>
        <p:spPr bwMode="gray">
          <a:xfrm>
            <a:off x="4629825" y="3872811"/>
            <a:ext cx="553037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Gode Wind 2</a:t>
            </a:r>
          </a:p>
        </p:txBody>
      </p:sp>
      <p:cxnSp>
        <p:nvCxnSpPr>
          <p:cNvPr id="85" name="Elbow Connector 84"/>
          <p:cNvCxnSpPr>
            <a:stCxn id="46" idx="2"/>
            <a:endCxn id="82" idx="1"/>
          </p:cNvCxnSpPr>
          <p:nvPr/>
        </p:nvCxnSpPr>
        <p:spPr bwMode="gray">
          <a:xfrm rot="16200000" flipH="1">
            <a:off x="4470147" y="3934846"/>
            <a:ext cx="102443" cy="161957"/>
          </a:xfrm>
          <a:prstGeom prst="bentConnector2">
            <a:avLst/>
          </a:prstGeom>
          <a:solidFill>
            <a:schemeClr val="accent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86" name="Elbow Connector 85"/>
          <p:cNvCxnSpPr>
            <a:endCxn id="83" idx="1"/>
          </p:cNvCxnSpPr>
          <p:nvPr/>
        </p:nvCxnSpPr>
        <p:spPr bwMode="gray">
          <a:xfrm>
            <a:off x="4506400" y="3865628"/>
            <a:ext cx="123425" cy="6396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87" name="Elbow Connector 86"/>
          <p:cNvCxnSpPr/>
          <p:nvPr/>
        </p:nvCxnSpPr>
        <p:spPr bwMode="gray">
          <a:xfrm rot="16200000" flipH="1">
            <a:off x="4144207" y="4126249"/>
            <a:ext cx="440814" cy="123413"/>
          </a:xfrm>
          <a:prstGeom prst="bentConnector2">
            <a:avLst/>
          </a:prstGeom>
          <a:solidFill>
            <a:schemeClr val="accent2"/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88" name="Elbow Connector 87"/>
          <p:cNvCxnSpPr>
            <a:endCxn id="79" idx="1"/>
          </p:cNvCxnSpPr>
          <p:nvPr/>
        </p:nvCxnSpPr>
        <p:spPr bwMode="gray">
          <a:xfrm rot="16200000" flipH="1">
            <a:off x="3991550" y="4233761"/>
            <a:ext cx="589816" cy="119536"/>
          </a:xfrm>
          <a:prstGeom prst="bentConnector2">
            <a:avLst/>
          </a:prstGeom>
          <a:solidFill>
            <a:srgbClr val="0F96AA"/>
          </a:solidFill>
          <a:ln w="9525" cap="flat" cmpd="sng" algn="ctr">
            <a:solidFill>
              <a:srgbClr val="0F96A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9" name="Elbow Connector 88"/>
          <p:cNvCxnSpPr>
            <a:stCxn id="101" idx="2"/>
            <a:endCxn id="78" idx="1"/>
          </p:cNvCxnSpPr>
          <p:nvPr/>
        </p:nvCxnSpPr>
        <p:spPr bwMode="gray">
          <a:xfrm rot="16200000" flipH="1">
            <a:off x="3897675" y="4281222"/>
            <a:ext cx="712513" cy="188048"/>
          </a:xfrm>
          <a:prstGeom prst="bentConnector2">
            <a:avLst/>
          </a:prstGeom>
          <a:solidFill>
            <a:schemeClr val="accent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90" name="Elbow Connector 89"/>
          <p:cNvCxnSpPr>
            <a:endCxn id="57" idx="2"/>
          </p:cNvCxnSpPr>
          <p:nvPr/>
        </p:nvCxnSpPr>
        <p:spPr bwMode="gray">
          <a:xfrm rot="5400000" flipH="1" flipV="1">
            <a:off x="2486784" y="3406727"/>
            <a:ext cx="382183" cy="252206"/>
          </a:xfrm>
          <a:prstGeom prst="bentConnector3">
            <a:avLst/>
          </a:prstGeom>
          <a:solidFill>
            <a:schemeClr val="accent2"/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91" name="Elbow Connector 90"/>
          <p:cNvCxnSpPr>
            <a:endCxn id="56" idx="3"/>
          </p:cNvCxnSpPr>
          <p:nvPr/>
        </p:nvCxnSpPr>
        <p:spPr bwMode="gray">
          <a:xfrm rot="10800000">
            <a:off x="1839693" y="3398326"/>
            <a:ext cx="608261" cy="151102"/>
          </a:xfrm>
          <a:prstGeom prst="bentConnector3">
            <a:avLst>
              <a:gd name="adj1" fmla="val 50000"/>
            </a:avLst>
          </a:prstGeom>
          <a:solidFill>
            <a:srgbClr val="0F96AA"/>
          </a:solidFill>
          <a:ln w="9525" cap="flat" cmpd="sng" algn="ctr">
            <a:solidFill>
              <a:srgbClr val="0F96A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Elbow Connector 92"/>
          <p:cNvCxnSpPr>
            <a:stCxn id="49" idx="1"/>
            <a:endCxn id="60" idx="3"/>
          </p:cNvCxnSpPr>
          <p:nvPr/>
        </p:nvCxnSpPr>
        <p:spPr bwMode="gray">
          <a:xfrm rot="10800000" flipV="1">
            <a:off x="1541534" y="3827085"/>
            <a:ext cx="657590" cy="4070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94" name="Elbow Connector 93"/>
          <p:cNvCxnSpPr>
            <a:endCxn id="61" idx="3"/>
          </p:cNvCxnSpPr>
          <p:nvPr/>
        </p:nvCxnSpPr>
        <p:spPr bwMode="gray">
          <a:xfrm rot="10800000">
            <a:off x="2105786" y="3624495"/>
            <a:ext cx="238652" cy="12259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95" name="Elbow Connector 94"/>
          <p:cNvCxnSpPr>
            <a:endCxn id="63" idx="3"/>
          </p:cNvCxnSpPr>
          <p:nvPr/>
        </p:nvCxnSpPr>
        <p:spPr bwMode="gray">
          <a:xfrm rot="10800000" flipV="1">
            <a:off x="1762748" y="4033403"/>
            <a:ext cx="700917" cy="320973"/>
          </a:xfrm>
          <a:prstGeom prst="bentConnector3">
            <a:avLst>
              <a:gd name="adj1" fmla="val 50000"/>
            </a:avLst>
          </a:prstGeom>
          <a:solidFill>
            <a:srgbClr val="0F96AA"/>
          </a:solidFill>
          <a:ln w="9525" cap="flat" cmpd="sng" algn="ctr">
            <a:solidFill>
              <a:srgbClr val="0F96A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6" name="Elbow Connector 95"/>
          <p:cNvCxnSpPr/>
          <p:nvPr/>
        </p:nvCxnSpPr>
        <p:spPr bwMode="gray">
          <a:xfrm rot="5400000">
            <a:off x="3146482" y="3618264"/>
            <a:ext cx="81762" cy="10093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98" name="Elbow Connector 97"/>
          <p:cNvCxnSpPr>
            <a:endCxn id="71" idx="1"/>
          </p:cNvCxnSpPr>
          <p:nvPr/>
        </p:nvCxnSpPr>
        <p:spPr bwMode="gray">
          <a:xfrm flipV="1">
            <a:off x="3355458" y="3882901"/>
            <a:ext cx="160312" cy="14649"/>
          </a:xfrm>
          <a:prstGeom prst="bentConnector3">
            <a:avLst>
              <a:gd name="adj1" fmla="val 50000"/>
            </a:avLst>
          </a:prstGeom>
          <a:solidFill>
            <a:srgbClr val="0F96AA"/>
          </a:solidFill>
          <a:ln w="9525" cap="flat" cmpd="sng" algn="ctr">
            <a:solidFill>
              <a:srgbClr val="0F96A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9" name="Elbow Connector 98"/>
          <p:cNvCxnSpPr>
            <a:endCxn id="70" idx="0"/>
          </p:cNvCxnSpPr>
          <p:nvPr/>
        </p:nvCxnSpPr>
        <p:spPr bwMode="gray">
          <a:xfrm>
            <a:off x="3040589" y="4639617"/>
            <a:ext cx="281723" cy="65430"/>
          </a:xfrm>
          <a:prstGeom prst="bentConnector2">
            <a:avLst/>
          </a:prstGeom>
          <a:solidFill>
            <a:schemeClr val="accent2"/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/>
          </a:ln>
          <a:effectLst/>
        </p:spPr>
      </p:cxnSp>
      <p:pic>
        <p:nvPicPr>
          <p:cNvPr id="100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502464" y="3858347"/>
            <a:ext cx="176213" cy="148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1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073547" y="3873421"/>
            <a:ext cx="172719" cy="145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2" name="Elbow Connector 101"/>
          <p:cNvCxnSpPr>
            <a:stCxn id="65" idx="3"/>
          </p:cNvCxnSpPr>
          <p:nvPr/>
        </p:nvCxnSpPr>
        <p:spPr bwMode="gray">
          <a:xfrm flipV="1">
            <a:off x="3069325" y="4520995"/>
            <a:ext cx="186790" cy="1184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03" name="Elbow Connector 102"/>
          <p:cNvCxnSpPr>
            <a:stCxn id="66" idx="2"/>
          </p:cNvCxnSpPr>
          <p:nvPr/>
        </p:nvCxnSpPr>
        <p:spPr bwMode="gray">
          <a:xfrm rot="16200000" flipH="1">
            <a:off x="3204799" y="4197403"/>
            <a:ext cx="67107" cy="312426"/>
          </a:xfrm>
          <a:prstGeom prst="bentConnector2">
            <a:avLst/>
          </a:prstGeom>
          <a:solidFill>
            <a:schemeClr val="accent2"/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/>
          </a:ln>
          <a:effectLst/>
        </p:spPr>
      </p:cxnSp>
      <p:pic>
        <p:nvPicPr>
          <p:cNvPr id="104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296559" y="3414083"/>
            <a:ext cx="176213" cy="148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5" name="Elbow Connector 104"/>
          <p:cNvCxnSpPr/>
          <p:nvPr/>
        </p:nvCxnSpPr>
        <p:spPr bwMode="gray">
          <a:xfrm rot="16200000" flipH="1">
            <a:off x="4276441" y="4022025"/>
            <a:ext cx="345704" cy="144157"/>
          </a:xfrm>
          <a:prstGeom prst="bentConnector3">
            <a:avLst>
              <a:gd name="adj1" fmla="val 99893"/>
            </a:avLst>
          </a:prstGeom>
          <a:solidFill>
            <a:schemeClr val="accent2"/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/>
          </a:ln>
          <a:effectLst/>
        </p:spPr>
      </p:cxnSp>
      <p:pic>
        <p:nvPicPr>
          <p:cNvPr id="107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85773" y="3098160"/>
            <a:ext cx="176213" cy="148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8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180473" y="3262773"/>
            <a:ext cx="176213" cy="148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9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12930" y="3492418"/>
            <a:ext cx="176213" cy="148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064043" y="3709833"/>
            <a:ext cx="176213" cy="148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1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231374" y="4547743"/>
            <a:ext cx="176213" cy="148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243582" y="4424168"/>
            <a:ext cx="176213" cy="148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366018" y="4392810"/>
            <a:ext cx="176213" cy="148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4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397368" y="4316669"/>
            <a:ext cx="176213" cy="148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5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50534" y="3977955"/>
            <a:ext cx="176213" cy="148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6" name="Elbow Connector 115"/>
          <p:cNvCxnSpPr>
            <a:stCxn id="64" idx="3"/>
          </p:cNvCxnSpPr>
          <p:nvPr/>
        </p:nvCxnSpPr>
        <p:spPr bwMode="gray">
          <a:xfrm flipV="1">
            <a:off x="2217563" y="4015847"/>
            <a:ext cx="373009" cy="471525"/>
          </a:xfrm>
          <a:prstGeom prst="bentConnector2">
            <a:avLst/>
          </a:prstGeom>
          <a:solidFill>
            <a:schemeClr val="accent2"/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/>
          </a:ln>
          <a:effectLst/>
        </p:spPr>
      </p:cxnSp>
      <p:pic>
        <p:nvPicPr>
          <p:cNvPr id="117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335978" y="3660886"/>
            <a:ext cx="176213" cy="148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8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335729" y="3759579"/>
            <a:ext cx="176213" cy="148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9" name="Elbow Connector 118"/>
          <p:cNvCxnSpPr>
            <a:stCxn id="62" idx="3"/>
          </p:cNvCxnSpPr>
          <p:nvPr/>
        </p:nvCxnSpPr>
        <p:spPr bwMode="gray">
          <a:xfrm flipV="1">
            <a:off x="1381234" y="3897551"/>
            <a:ext cx="976138" cy="21353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/>
          </a:ln>
          <a:effectLst/>
        </p:spPr>
      </p:cxnSp>
      <p:pic>
        <p:nvPicPr>
          <p:cNvPr id="120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475785" y="3713312"/>
            <a:ext cx="176213" cy="148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1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434050" y="3649664"/>
            <a:ext cx="176213" cy="148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" name="Freeform 9"/>
          <p:cNvSpPr>
            <a:spLocks/>
          </p:cNvSpPr>
          <p:nvPr/>
        </p:nvSpPr>
        <p:spPr bwMode="auto">
          <a:xfrm>
            <a:off x="384458" y="1846532"/>
            <a:ext cx="1335930" cy="758865"/>
          </a:xfrm>
          <a:custGeom>
            <a:avLst/>
            <a:gdLst/>
            <a:ahLst/>
            <a:cxnLst>
              <a:cxn ang="0">
                <a:pos x="312" y="0"/>
              </a:cxn>
              <a:cxn ang="0">
                <a:pos x="344" y="24"/>
              </a:cxn>
              <a:cxn ang="0">
                <a:pos x="352" y="40"/>
              </a:cxn>
              <a:cxn ang="0">
                <a:pos x="376" y="48"/>
              </a:cxn>
              <a:cxn ang="0">
                <a:pos x="408" y="48"/>
              </a:cxn>
              <a:cxn ang="0">
                <a:pos x="424" y="64"/>
              </a:cxn>
              <a:cxn ang="0">
                <a:pos x="392" y="72"/>
              </a:cxn>
              <a:cxn ang="0">
                <a:pos x="384" y="120"/>
              </a:cxn>
              <a:cxn ang="0">
                <a:pos x="400" y="88"/>
              </a:cxn>
              <a:cxn ang="0">
                <a:pos x="408" y="64"/>
              </a:cxn>
              <a:cxn ang="0">
                <a:pos x="424" y="96"/>
              </a:cxn>
              <a:cxn ang="0">
                <a:pos x="448" y="104"/>
              </a:cxn>
              <a:cxn ang="0">
                <a:pos x="448" y="120"/>
              </a:cxn>
              <a:cxn ang="0">
                <a:pos x="504" y="96"/>
              </a:cxn>
              <a:cxn ang="0">
                <a:pos x="552" y="72"/>
              </a:cxn>
              <a:cxn ang="0">
                <a:pos x="584" y="40"/>
              </a:cxn>
              <a:cxn ang="0">
                <a:pos x="600" y="64"/>
              </a:cxn>
              <a:cxn ang="0">
                <a:pos x="600" y="80"/>
              </a:cxn>
              <a:cxn ang="0">
                <a:pos x="568" y="120"/>
              </a:cxn>
              <a:cxn ang="0">
                <a:pos x="552" y="120"/>
              </a:cxn>
              <a:cxn ang="0">
                <a:pos x="528" y="160"/>
              </a:cxn>
              <a:cxn ang="0">
                <a:pos x="512" y="184"/>
              </a:cxn>
              <a:cxn ang="0">
                <a:pos x="504" y="152"/>
              </a:cxn>
              <a:cxn ang="0">
                <a:pos x="512" y="208"/>
              </a:cxn>
              <a:cxn ang="0">
                <a:pos x="456" y="256"/>
              </a:cxn>
              <a:cxn ang="0">
                <a:pos x="464" y="336"/>
              </a:cxn>
              <a:cxn ang="0">
                <a:pos x="440" y="312"/>
              </a:cxn>
              <a:cxn ang="0">
                <a:pos x="408" y="280"/>
              </a:cxn>
              <a:cxn ang="0">
                <a:pos x="368" y="280"/>
              </a:cxn>
              <a:cxn ang="0">
                <a:pos x="344" y="280"/>
              </a:cxn>
              <a:cxn ang="0">
                <a:pos x="288" y="304"/>
              </a:cxn>
              <a:cxn ang="0">
                <a:pos x="240" y="280"/>
              </a:cxn>
              <a:cxn ang="0">
                <a:pos x="216" y="288"/>
              </a:cxn>
              <a:cxn ang="0">
                <a:pos x="192" y="256"/>
              </a:cxn>
              <a:cxn ang="0">
                <a:pos x="80" y="248"/>
              </a:cxn>
              <a:cxn ang="0">
                <a:pos x="64" y="224"/>
              </a:cxn>
              <a:cxn ang="0">
                <a:pos x="24" y="200"/>
              </a:cxn>
              <a:cxn ang="0">
                <a:pos x="16" y="176"/>
              </a:cxn>
              <a:cxn ang="0">
                <a:pos x="8" y="168"/>
              </a:cxn>
              <a:cxn ang="0">
                <a:pos x="8" y="152"/>
              </a:cxn>
              <a:cxn ang="0">
                <a:pos x="0" y="104"/>
              </a:cxn>
              <a:cxn ang="0">
                <a:pos x="8" y="24"/>
              </a:cxn>
              <a:cxn ang="0">
                <a:pos x="16" y="8"/>
              </a:cxn>
            </a:cxnLst>
            <a:rect l="0" t="0" r="r" b="b"/>
            <a:pathLst>
              <a:path w="609" h="337">
                <a:moveTo>
                  <a:pt x="16" y="8"/>
                </a:moveTo>
                <a:lnTo>
                  <a:pt x="304" y="8"/>
                </a:lnTo>
                <a:lnTo>
                  <a:pt x="312" y="0"/>
                </a:lnTo>
                <a:lnTo>
                  <a:pt x="320" y="16"/>
                </a:lnTo>
                <a:lnTo>
                  <a:pt x="328" y="16"/>
                </a:lnTo>
                <a:lnTo>
                  <a:pt x="344" y="24"/>
                </a:lnTo>
                <a:lnTo>
                  <a:pt x="368" y="24"/>
                </a:lnTo>
                <a:lnTo>
                  <a:pt x="336" y="48"/>
                </a:lnTo>
                <a:lnTo>
                  <a:pt x="352" y="40"/>
                </a:lnTo>
                <a:lnTo>
                  <a:pt x="360" y="48"/>
                </a:lnTo>
                <a:lnTo>
                  <a:pt x="376" y="40"/>
                </a:lnTo>
                <a:lnTo>
                  <a:pt x="376" y="48"/>
                </a:lnTo>
                <a:lnTo>
                  <a:pt x="384" y="40"/>
                </a:lnTo>
                <a:lnTo>
                  <a:pt x="392" y="48"/>
                </a:lnTo>
                <a:lnTo>
                  <a:pt x="408" y="48"/>
                </a:lnTo>
                <a:lnTo>
                  <a:pt x="416" y="48"/>
                </a:lnTo>
                <a:lnTo>
                  <a:pt x="424" y="56"/>
                </a:lnTo>
                <a:lnTo>
                  <a:pt x="424" y="64"/>
                </a:lnTo>
                <a:lnTo>
                  <a:pt x="392" y="64"/>
                </a:lnTo>
                <a:lnTo>
                  <a:pt x="384" y="80"/>
                </a:lnTo>
                <a:lnTo>
                  <a:pt x="392" y="72"/>
                </a:lnTo>
                <a:lnTo>
                  <a:pt x="384" y="104"/>
                </a:lnTo>
                <a:lnTo>
                  <a:pt x="384" y="120"/>
                </a:lnTo>
                <a:lnTo>
                  <a:pt x="384" y="120"/>
                </a:lnTo>
                <a:lnTo>
                  <a:pt x="392" y="120"/>
                </a:lnTo>
                <a:lnTo>
                  <a:pt x="400" y="120"/>
                </a:lnTo>
                <a:lnTo>
                  <a:pt x="400" y="88"/>
                </a:lnTo>
                <a:lnTo>
                  <a:pt x="408" y="72"/>
                </a:lnTo>
                <a:lnTo>
                  <a:pt x="408" y="72"/>
                </a:lnTo>
                <a:lnTo>
                  <a:pt x="408" y="64"/>
                </a:lnTo>
                <a:lnTo>
                  <a:pt x="432" y="72"/>
                </a:lnTo>
                <a:lnTo>
                  <a:pt x="432" y="80"/>
                </a:lnTo>
                <a:lnTo>
                  <a:pt x="424" y="96"/>
                </a:lnTo>
                <a:lnTo>
                  <a:pt x="440" y="88"/>
                </a:lnTo>
                <a:lnTo>
                  <a:pt x="440" y="104"/>
                </a:lnTo>
                <a:lnTo>
                  <a:pt x="448" y="104"/>
                </a:lnTo>
                <a:lnTo>
                  <a:pt x="432" y="120"/>
                </a:lnTo>
                <a:lnTo>
                  <a:pt x="440" y="120"/>
                </a:lnTo>
                <a:lnTo>
                  <a:pt x="448" y="120"/>
                </a:lnTo>
                <a:lnTo>
                  <a:pt x="480" y="104"/>
                </a:lnTo>
                <a:lnTo>
                  <a:pt x="480" y="96"/>
                </a:lnTo>
                <a:lnTo>
                  <a:pt x="504" y="96"/>
                </a:lnTo>
                <a:lnTo>
                  <a:pt x="504" y="80"/>
                </a:lnTo>
                <a:lnTo>
                  <a:pt x="520" y="72"/>
                </a:lnTo>
                <a:lnTo>
                  <a:pt x="552" y="72"/>
                </a:lnTo>
                <a:lnTo>
                  <a:pt x="568" y="72"/>
                </a:lnTo>
                <a:lnTo>
                  <a:pt x="576" y="32"/>
                </a:lnTo>
                <a:lnTo>
                  <a:pt x="584" y="40"/>
                </a:lnTo>
                <a:lnTo>
                  <a:pt x="592" y="32"/>
                </a:lnTo>
                <a:lnTo>
                  <a:pt x="592" y="40"/>
                </a:lnTo>
                <a:lnTo>
                  <a:pt x="600" y="64"/>
                </a:lnTo>
                <a:lnTo>
                  <a:pt x="608" y="72"/>
                </a:lnTo>
                <a:lnTo>
                  <a:pt x="608" y="72"/>
                </a:lnTo>
                <a:lnTo>
                  <a:pt x="600" y="80"/>
                </a:lnTo>
                <a:lnTo>
                  <a:pt x="584" y="80"/>
                </a:lnTo>
                <a:lnTo>
                  <a:pt x="560" y="112"/>
                </a:lnTo>
                <a:lnTo>
                  <a:pt x="568" y="120"/>
                </a:lnTo>
                <a:lnTo>
                  <a:pt x="568" y="120"/>
                </a:lnTo>
                <a:lnTo>
                  <a:pt x="568" y="128"/>
                </a:lnTo>
                <a:lnTo>
                  <a:pt x="552" y="120"/>
                </a:lnTo>
                <a:lnTo>
                  <a:pt x="536" y="128"/>
                </a:lnTo>
                <a:lnTo>
                  <a:pt x="528" y="136"/>
                </a:lnTo>
                <a:lnTo>
                  <a:pt x="528" y="160"/>
                </a:lnTo>
                <a:lnTo>
                  <a:pt x="520" y="160"/>
                </a:lnTo>
                <a:lnTo>
                  <a:pt x="520" y="160"/>
                </a:lnTo>
                <a:lnTo>
                  <a:pt x="512" y="184"/>
                </a:lnTo>
                <a:lnTo>
                  <a:pt x="512" y="168"/>
                </a:lnTo>
                <a:lnTo>
                  <a:pt x="504" y="160"/>
                </a:lnTo>
                <a:lnTo>
                  <a:pt x="504" y="152"/>
                </a:lnTo>
                <a:lnTo>
                  <a:pt x="496" y="160"/>
                </a:lnTo>
                <a:lnTo>
                  <a:pt x="504" y="184"/>
                </a:lnTo>
                <a:lnTo>
                  <a:pt x="512" y="208"/>
                </a:lnTo>
                <a:lnTo>
                  <a:pt x="504" y="216"/>
                </a:lnTo>
                <a:lnTo>
                  <a:pt x="480" y="232"/>
                </a:lnTo>
                <a:lnTo>
                  <a:pt x="456" y="256"/>
                </a:lnTo>
                <a:lnTo>
                  <a:pt x="448" y="264"/>
                </a:lnTo>
                <a:lnTo>
                  <a:pt x="464" y="312"/>
                </a:lnTo>
                <a:lnTo>
                  <a:pt x="464" y="336"/>
                </a:lnTo>
                <a:lnTo>
                  <a:pt x="456" y="336"/>
                </a:lnTo>
                <a:lnTo>
                  <a:pt x="448" y="328"/>
                </a:lnTo>
                <a:lnTo>
                  <a:pt x="440" y="312"/>
                </a:lnTo>
                <a:lnTo>
                  <a:pt x="440" y="288"/>
                </a:lnTo>
                <a:lnTo>
                  <a:pt x="424" y="272"/>
                </a:lnTo>
                <a:lnTo>
                  <a:pt x="408" y="280"/>
                </a:lnTo>
                <a:lnTo>
                  <a:pt x="408" y="272"/>
                </a:lnTo>
                <a:lnTo>
                  <a:pt x="368" y="272"/>
                </a:lnTo>
                <a:lnTo>
                  <a:pt x="368" y="280"/>
                </a:lnTo>
                <a:lnTo>
                  <a:pt x="368" y="288"/>
                </a:lnTo>
                <a:lnTo>
                  <a:pt x="352" y="288"/>
                </a:lnTo>
                <a:lnTo>
                  <a:pt x="344" y="280"/>
                </a:lnTo>
                <a:lnTo>
                  <a:pt x="328" y="280"/>
                </a:lnTo>
                <a:lnTo>
                  <a:pt x="312" y="288"/>
                </a:lnTo>
                <a:lnTo>
                  <a:pt x="288" y="304"/>
                </a:lnTo>
                <a:lnTo>
                  <a:pt x="288" y="328"/>
                </a:lnTo>
                <a:lnTo>
                  <a:pt x="264" y="320"/>
                </a:lnTo>
                <a:lnTo>
                  <a:pt x="240" y="280"/>
                </a:lnTo>
                <a:lnTo>
                  <a:pt x="232" y="280"/>
                </a:lnTo>
                <a:lnTo>
                  <a:pt x="224" y="288"/>
                </a:lnTo>
                <a:lnTo>
                  <a:pt x="216" y="288"/>
                </a:lnTo>
                <a:lnTo>
                  <a:pt x="208" y="280"/>
                </a:lnTo>
                <a:lnTo>
                  <a:pt x="208" y="264"/>
                </a:lnTo>
                <a:lnTo>
                  <a:pt x="192" y="256"/>
                </a:lnTo>
                <a:lnTo>
                  <a:pt x="136" y="256"/>
                </a:lnTo>
                <a:lnTo>
                  <a:pt x="96" y="248"/>
                </a:lnTo>
                <a:lnTo>
                  <a:pt x="80" y="248"/>
                </a:lnTo>
                <a:lnTo>
                  <a:pt x="72" y="232"/>
                </a:lnTo>
                <a:lnTo>
                  <a:pt x="64" y="232"/>
                </a:lnTo>
                <a:lnTo>
                  <a:pt x="64" y="224"/>
                </a:lnTo>
                <a:lnTo>
                  <a:pt x="40" y="216"/>
                </a:lnTo>
                <a:lnTo>
                  <a:pt x="40" y="208"/>
                </a:lnTo>
                <a:lnTo>
                  <a:pt x="24" y="200"/>
                </a:lnTo>
                <a:lnTo>
                  <a:pt x="24" y="184"/>
                </a:lnTo>
                <a:lnTo>
                  <a:pt x="16" y="184"/>
                </a:lnTo>
                <a:lnTo>
                  <a:pt x="16" y="176"/>
                </a:lnTo>
                <a:lnTo>
                  <a:pt x="24" y="176"/>
                </a:lnTo>
                <a:lnTo>
                  <a:pt x="24" y="168"/>
                </a:lnTo>
                <a:lnTo>
                  <a:pt x="8" y="168"/>
                </a:lnTo>
                <a:lnTo>
                  <a:pt x="16" y="168"/>
                </a:lnTo>
                <a:lnTo>
                  <a:pt x="8" y="160"/>
                </a:lnTo>
                <a:lnTo>
                  <a:pt x="8" y="152"/>
                </a:lnTo>
                <a:lnTo>
                  <a:pt x="0" y="144"/>
                </a:lnTo>
                <a:lnTo>
                  <a:pt x="8" y="120"/>
                </a:lnTo>
                <a:lnTo>
                  <a:pt x="0" y="104"/>
                </a:lnTo>
                <a:lnTo>
                  <a:pt x="8" y="56"/>
                </a:lnTo>
                <a:lnTo>
                  <a:pt x="0" y="24"/>
                </a:lnTo>
                <a:lnTo>
                  <a:pt x="8" y="24"/>
                </a:lnTo>
                <a:lnTo>
                  <a:pt x="8" y="32"/>
                </a:lnTo>
                <a:lnTo>
                  <a:pt x="16" y="32"/>
                </a:lnTo>
                <a:lnTo>
                  <a:pt x="16" y="8"/>
                </a:lnTo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GB" sz="1662" dirty="0"/>
          </a:p>
        </p:txBody>
      </p:sp>
      <p:pic>
        <p:nvPicPr>
          <p:cNvPr id="123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671844" y="1977602"/>
            <a:ext cx="172719" cy="145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4" name="TextBox 123"/>
          <p:cNvSpPr txBox="1"/>
          <p:nvPr/>
        </p:nvSpPr>
        <p:spPr bwMode="gray">
          <a:xfrm>
            <a:off x="1470532" y="1809077"/>
            <a:ext cx="650819" cy="2271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Bay State Wind</a:t>
            </a:r>
          </a:p>
          <a:p>
            <a:endParaRPr lang="en-GB" sz="738" dirty="0"/>
          </a:p>
        </p:txBody>
      </p:sp>
      <p:pic>
        <p:nvPicPr>
          <p:cNvPr id="126" name="Picture 12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9289" y="1884523"/>
            <a:ext cx="466305" cy="290145"/>
          </a:xfrm>
          <a:prstGeom prst="rect">
            <a:avLst/>
          </a:prstGeom>
        </p:spPr>
      </p:pic>
      <p:pic>
        <p:nvPicPr>
          <p:cNvPr id="127" name="Picture 12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851327" y="1877193"/>
            <a:ext cx="465231" cy="304806"/>
          </a:xfrm>
          <a:prstGeom prst="rect">
            <a:avLst/>
          </a:prstGeom>
        </p:spPr>
      </p:pic>
      <p:sp>
        <p:nvSpPr>
          <p:cNvPr id="128" name="Rounded Rectangle 127"/>
          <p:cNvSpPr/>
          <p:nvPr/>
        </p:nvSpPr>
        <p:spPr bwMode="auto">
          <a:xfrm>
            <a:off x="6086636" y="2893608"/>
            <a:ext cx="1262769" cy="558795"/>
          </a:xfrm>
          <a:prstGeom prst="roundRect">
            <a:avLst/>
          </a:prstGeom>
          <a:solidFill>
            <a:srgbClr val="629415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3231" rIns="0" bIns="33231" numCol="1" rtlCol="0" anchor="ctr" anchorCtr="0" compatLnSpc="1">
            <a:prstTxWarp prst="textNoShape">
              <a:avLst/>
            </a:prstTxWarp>
          </a:bodyPr>
          <a:lstStyle/>
          <a:p>
            <a:pPr algn="ctr" defTabSz="844083" fontAlgn="base">
              <a:spcBef>
                <a:spcPct val="30000"/>
              </a:spcBef>
              <a:spcAft>
                <a:spcPct val="0"/>
              </a:spcAft>
              <a:buClr>
                <a:srgbClr val="629415"/>
              </a:buClr>
            </a:pPr>
            <a:r>
              <a:rPr lang="sv-SE" sz="831" dirty="0">
                <a:solidFill>
                  <a:schemeClr val="bg1"/>
                </a:solidFill>
                <a:latin typeface="Arial" charset="0"/>
                <a:cs typeface="Arial" charset="0"/>
              </a:rPr>
              <a:t>21</a:t>
            </a:r>
            <a:r>
              <a:rPr lang="sv-SE" sz="831" b="1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r>
              <a:rPr lang="sv-SE" sz="831" dirty="0">
                <a:solidFill>
                  <a:schemeClr val="bg1"/>
                </a:solidFill>
                <a:latin typeface="Arial" charset="0"/>
                <a:cs typeface="Arial" charset="0"/>
              </a:rPr>
              <a:t>offshore wind farms       in operation</a:t>
            </a:r>
            <a:endParaRPr lang="en-US" sz="83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129" name="Rounded Rectangle 128"/>
          <p:cNvSpPr/>
          <p:nvPr/>
        </p:nvSpPr>
        <p:spPr bwMode="auto">
          <a:xfrm>
            <a:off x="7417557" y="2893608"/>
            <a:ext cx="1262769" cy="558795"/>
          </a:xfrm>
          <a:prstGeom prst="roundRect">
            <a:avLst/>
          </a:prstGeom>
          <a:solidFill>
            <a:srgbClr val="0F96AA"/>
          </a:solidFill>
          <a:ln w="19050" cap="flat" cmpd="sng" algn="ctr">
            <a:solidFill>
              <a:srgbClr val="0F96A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3231" rIns="0" bIns="33231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  <a:spcBef>
                <a:spcPct val="30000"/>
              </a:spcBef>
              <a:buClr>
                <a:srgbClr val="629415"/>
              </a:buClr>
            </a:pPr>
            <a:r>
              <a:rPr lang="sv-SE" sz="738" b="1" dirty="0">
                <a:solidFill>
                  <a:schemeClr val="bg1"/>
                </a:solidFill>
              </a:rPr>
              <a:t>7 offshore wind farms under construction</a:t>
            </a:r>
            <a:endParaRPr lang="en-US" sz="738" b="1" dirty="0">
              <a:solidFill>
                <a:schemeClr val="bg1"/>
              </a:solidFill>
            </a:endParaRPr>
          </a:p>
        </p:txBody>
      </p:sp>
      <p:sp>
        <p:nvSpPr>
          <p:cNvPr id="133" name="Oval 132"/>
          <p:cNvSpPr/>
          <p:nvPr/>
        </p:nvSpPr>
        <p:spPr bwMode="auto">
          <a:xfrm>
            <a:off x="7896739" y="4761760"/>
            <a:ext cx="774874" cy="830769"/>
          </a:xfrm>
          <a:prstGeom prst="ellipse">
            <a:avLst/>
          </a:prstGeom>
          <a:noFill/>
          <a:ln w="190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3231" rIns="0" bIns="33231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  <a:spcBef>
                <a:spcPct val="30000"/>
              </a:spcBef>
              <a:buClr>
                <a:srgbClr val="629415"/>
              </a:buClr>
            </a:pPr>
            <a:r>
              <a:rPr lang="sv-SE" sz="831" b="1" dirty="0">
                <a:solidFill>
                  <a:schemeClr val="accent4"/>
                </a:solidFill>
              </a:rPr>
              <a:t>15 </a:t>
            </a:r>
            <a:r>
              <a:rPr lang="sv-SE" sz="738" dirty="0">
                <a:solidFill>
                  <a:schemeClr val="accent4"/>
                </a:solidFill>
              </a:rPr>
              <a:t>Partnerships</a:t>
            </a:r>
          </a:p>
          <a:p>
            <a:pPr algn="ctr">
              <a:lnSpc>
                <a:spcPct val="110000"/>
              </a:lnSpc>
              <a:spcBef>
                <a:spcPct val="30000"/>
              </a:spcBef>
              <a:buClr>
                <a:srgbClr val="629415"/>
              </a:buClr>
            </a:pPr>
            <a:endParaRPr lang="en-US" sz="738" dirty="0">
              <a:solidFill>
                <a:schemeClr val="accent4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011949" y="2019940"/>
            <a:ext cx="2681018" cy="558277"/>
            <a:chOff x="6448937" y="1902518"/>
            <a:chExt cx="2904436" cy="604800"/>
          </a:xfrm>
        </p:grpSpPr>
        <p:sp>
          <p:nvSpPr>
            <p:cNvPr id="130" name="Pentagon 129"/>
            <p:cNvSpPr/>
            <p:nvPr/>
          </p:nvSpPr>
          <p:spPr bwMode="auto">
            <a:xfrm>
              <a:off x="6873831" y="1902518"/>
              <a:ext cx="2054648" cy="604800"/>
            </a:xfrm>
            <a:prstGeom prst="homePlate">
              <a:avLst>
                <a:gd name="adj" fmla="val 34018"/>
              </a:avLst>
            </a:prstGeom>
            <a:solidFill>
              <a:srgbClr val="E4E5E0"/>
            </a:solidFill>
            <a:ln w="12700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33231" rIns="0" bIns="33231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110000"/>
                </a:lnSpc>
                <a:spcBef>
                  <a:spcPct val="30000"/>
                </a:spcBef>
              </a:pPr>
              <a:r>
                <a:rPr lang="en-GB" sz="831" b="1" dirty="0"/>
                <a:t>26 years of experience and track record</a:t>
              </a:r>
              <a:r>
                <a:rPr lang="en-GB" sz="831" b="1" dirty="0">
                  <a:solidFill>
                    <a:srgbClr val="FF0000"/>
                  </a:solidFill>
                </a:rPr>
                <a:t> </a:t>
              </a:r>
              <a:r>
                <a:rPr lang="en-GB" sz="831" b="1" dirty="0"/>
                <a:t>in the offshore wind sector</a:t>
              </a:r>
            </a:p>
          </p:txBody>
        </p:sp>
        <p:sp>
          <p:nvSpPr>
            <p:cNvPr id="131" name="Oval 130"/>
            <p:cNvSpPr>
              <a:spLocks noChangeAspect="1"/>
            </p:cNvSpPr>
            <p:nvPr/>
          </p:nvSpPr>
          <p:spPr bwMode="auto">
            <a:xfrm>
              <a:off x="6448937" y="2008353"/>
              <a:ext cx="355214" cy="393130"/>
            </a:xfrm>
            <a:prstGeom prst="ellipse">
              <a:avLst/>
            </a:prstGeom>
            <a:solidFill>
              <a:srgbClr val="183A5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33231" rIns="0" bIns="33231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110000"/>
                </a:lnSpc>
                <a:spcBef>
                  <a:spcPct val="30000"/>
                </a:spcBef>
                <a:buNone/>
              </a:pPr>
              <a:r>
                <a:rPr lang="en-GB" sz="738" b="1" dirty="0">
                  <a:solidFill>
                    <a:srgbClr val="FFFFFF"/>
                  </a:solidFill>
                </a:rPr>
                <a:t>1991</a:t>
              </a:r>
            </a:p>
          </p:txBody>
        </p:sp>
        <p:sp>
          <p:nvSpPr>
            <p:cNvPr id="138" name="Oval 137"/>
            <p:cNvSpPr>
              <a:spLocks noChangeAspect="1"/>
            </p:cNvSpPr>
            <p:nvPr/>
          </p:nvSpPr>
          <p:spPr bwMode="auto">
            <a:xfrm>
              <a:off x="8998159" y="2008353"/>
              <a:ext cx="355214" cy="393130"/>
            </a:xfrm>
            <a:prstGeom prst="ellipse">
              <a:avLst/>
            </a:prstGeom>
            <a:solidFill>
              <a:srgbClr val="183A5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33231" rIns="0" bIns="33231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110000"/>
                </a:lnSpc>
                <a:spcBef>
                  <a:spcPct val="30000"/>
                </a:spcBef>
                <a:buNone/>
              </a:pPr>
              <a:r>
                <a:rPr lang="en-GB" sz="738" b="1" dirty="0">
                  <a:solidFill>
                    <a:srgbClr val="FFFFFF"/>
                  </a:solidFill>
                </a:rPr>
                <a:t>2017</a:t>
              </a:r>
            </a:p>
          </p:txBody>
        </p:sp>
      </p:grpSp>
      <p:pic>
        <p:nvPicPr>
          <p:cNvPr id="139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043215" y="3714247"/>
            <a:ext cx="176213" cy="148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0" name="Picture 23" descr="M:\info\lped\- Grafisk Support\Generation\Powerpoint\- art\i_offshoreVin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270133" y="3920231"/>
            <a:ext cx="176213" cy="135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6" name="Oval 145"/>
          <p:cNvSpPr/>
          <p:nvPr/>
        </p:nvSpPr>
        <p:spPr bwMode="auto">
          <a:xfrm>
            <a:off x="7896739" y="3827814"/>
            <a:ext cx="774874" cy="830769"/>
          </a:xfrm>
          <a:prstGeom prst="ellipse">
            <a:avLst/>
          </a:prstGeom>
          <a:noFill/>
          <a:ln w="19050" cap="flat" cmpd="sng" algn="ctr">
            <a:solidFill>
              <a:srgbClr val="0F96A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3231" rIns="0" bIns="33231" numCol="1" rtlCol="0" anchor="ctr" anchorCtr="0" compatLnSpc="1">
            <a:prstTxWarp prst="textNoShape">
              <a:avLst/>
            </a:prstTxWarp>
          </a:bodyPr>
          <a:lstStyle/>
          <a:p>
            <a:pPr algn="ctr" defTabSz="844083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629415"/>
              </a:buClr>
            </a:pPr>
            <a:r>
              <a:rPr lang="sv-SE" sz="831" b="1" dirty="0">
                <a:solidFill>
                  <a:srgbClr val="0F96AA"/>
                </a:solidFill>
                <a:latin typeface="Arial" charset="0"/>
                <a:cs typeface="Arial" charset="0"/>
              </a:rPr>
              <a:t>3,840 MW </a:t>
            </a:r>
            <a:r>
              <a:rPr lang="sv-SE" sz="738" dirty="0">
                <a:solidFill>
                  <a:srgbClr val="0F96AA"/>
                </a:solidFill>
                <a:latin typeface="Arial" charset="0"/>
                <a:cs typeface="Arial" charset="0"/>
              </a:rPr>
              <a:t>under construction</a:t>
            </a:r>
            <a:endParaRPr lang="en-US" sz="738" dirty="0">
              <a:solidFill>
                <a:srgbClr val="0F96AA"/>
              </a:solidFill>
              <a:latin typeface="Arial" charset="0"/>
              <a:cs typeface="Arial" charset="0"/>
            </a:endParaRPr>
          </a:p>
        </p:txBody>
      </p:sp>
      <p:sp>
        <p:nvSpPr>
          <p:cNvPr id="147" name="Oval 146"/>
          <p:cNvSpPr/>
          <p:nvPr/>
        </p:nvSpPr>
        <p:spPr bwMode="auto">
          <a:xfrm>
            <a:off x="6995020" y="3827814"/>
            <a:ext cx="774874" cy="830769"/>
          </a:xfrm>
          <a:prstGeom prst="ellipse">
            <a:avLst/>
          </a:prstGeom>
          <a:noFill/>
          <a:ln w="19050" cap="flat" cmpd="sng" algn="ctr">
            <a:solidFill>
              <a:srgbClr val="4A4C4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3231" rIns="0" bIns="33231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  <a:spcBef>
                <a:spcPct val="30000"/>
              </a:spcBef>
              <a:buClr>
                <a:srgbClr val="629415"/>
              </a:buClr>
            </a:pPr>
            <a:r>
              <a:rPr lang="sv-SE" sz="831" b="1">
                <a:solidFill>
                  <a:srgbClr val="4A4C46"/>
                </a:solidFill>
              </a:rPr>
              <a:t>2,000 </a:t>
            </a:r>
            <a:r>
              <a:rPr lang="en-GB" sz="738" dirty="0">
                <a:solidFill>
                  <a:srgbClr val="4A4C46"/>
                </a:solidFill>
              </a:rPr>
              <a:t>Dedicated employees</a:t>
            </a:r>
          </a:p>
        </p:txBody>
      </p:sp>
      <p:sp>
        <p:nvSpPr>
          <p:cNvPr id="148" name="Oval 147"/>
          <p:cNvSpPr/>
          <p:nvPr/>
        </p:nvSpPr>
        <p:spPr bwMode="auto">
          <a:xfrm>
            <a:off x="6086637" y="3827814"/>
            <a:ext cx="774874" cy="830769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62941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3231" rIns="0" bIns="33231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30000"/>
              </a:spcBef>
              <a:buClr>
                <a:srgbClr val="629415"/>
              </a:buClr>
            </a:pPr>
            <a:r>
              <a:rPr lang="sv-SE" sz="831" b="1" dirty="0">
                <a:solidFill>
                  <a:srgbClr val="629415"/>
                </a:solidFill>
              </a:rPr>
              <a:t>3,591 MW </a:t>
            </a:r>
            <a:r>
              <a:rPr lang="en-GB" sz="738" dirty="0">
                <a:solidFill>
                  <a:srgbClr val="629415"/>
                </a:solidFill>
              </a:rPr>
              <a:t>Constructed capacity</a:t>
            </a:r>
          </a:p>
        </p:txBody>
      </p:sp>
      <p:sp>
        <p:nvSpPr>
          <p:cNvPr id="149" name="Oval 148"/>
          <p:cNvSpPr/>
          <p:nvPr/>
        </p:nvSpPr>
        <p:spPr bwMode="auto">
          <a:xfrm>
            <a:off x="6086637" y="4761760"/>
            <a:ext cx="774874" cy="830769"/>
          </a:xfrm>
          <a:prstGeom prst="ellipse">
            <a:avLst/>
          </a:prstGeom>
          <a:noFill/>
          <a:ln w="19050" cap="flat" cmpd="sng" algn="ctr">
            <a:solidFill>
              <a:srgbClr val="646B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3231" rIns="0" bIns="33231" numCol="1" rtlCol="0" anchor="ctr" anchorCtr="0" compatLnSpc="1">
            <a:prstTxWarp prst="textNoShape">
              <a:avLst/>
            </a:prstTxWarp>
          </a:bodyPr>
          <a:lstStyle/>
          <a:p>
            <a:pPr algn="ctr" defTabSz="844083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629415"/>
              </a:buClr>
            </a:pPr>
            <a:r>
              <a:rPr lang="en-GB" sz="831" b="1" dirty="0">
                <a:solidFill>
                  <a:srgbClr val="646B00"/>
                </a:solidFill>
              </a:rPr>
              <a:t>7.5 million </a:t>
            </a:r>
            <a:br>
              <a:rPr lang="en-GB" sz="831" b="1" dirty="0">
                <a:solidFill>
                  <a:srgbClr val="646B00"/>
                </a:solidFill>
              </a:rPr>
            </a:br>
            <a:r>
              <a:rPr lang="en-GB" sz="738" dirty="0">
                <a:solidFill>
                  <a:srgbClr val="646B00"/>
                </a:solidFill>
              </a:rPr>
              <a:t> Europeans with clean electricity</a:t>
            </a:r>
          </a:p>
        </p:txBody>
      </p:sp>
      <p:sp>
        <p:nvSpPr>
          <p:cNvPr id="150" name="Oval 149"/>
          <p:cNvSpPr/>
          <p:nvPr/>
        </p:nvSpPr>
        <p:spPr bwMode="auto">
          <a:xfrm>
            <a:off x="6995020" y="4761760"/>
            <a:ext cx="774874" cy="830769"/>
          </a:xfrm>
          <a:prstGeom prst="ellipse">
            <a:avLst/>
          </a:prstGeom>
          <a:noFill/>
          <a:ln w="19050" cap="flat" cmpd="sng" algn="ctr">
            <a:solidFill>
              <a:srgbClr val="183A5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3231" rIns="0" bIns="33231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  <a:spcBef>
                <a:spcPct val="30000"/>
              </a:spcBef>
              <a:buClr>
                <a:srgbClr val="629415"/>
              </a:buClr>
            </a:pPr>
            <a:r>
              <a:rPr lang="en-US" sz="831" b="1" dirty="0">
                <a:solidFill>
                  <a:srgbClr val="183A5C"/>
                </a:solidFill>
              </a:rPr>
              <a:t>3,662 MW</a:t>
            </a:r>
            <a:endParaRPr lang="sv-SE" sz="831" b="1" dirty="0">
              <a:solidFill>
                <a:srgbClr val="183A5C"/>
              </a:solidFill>
            </a:endParaRPr>
          </a:p>
          <a:p>
            <a:pPr algn="ctr">
              <a:lnSpc>
                <a:spcPct val="110000"/>
              </a:lnSpc>
              <a:spcBef>
                <a:spcPct val="30000"/>
              </a:spcBef>
              <a:buClr>
                <a:srgbClr val="629415"/>
              </a:buClr>
            </a:pPr>
            <a:r>
              <a:rPr lang="en-US" sz="738" dirty="0">
                <a:solidFill>
                  <a:srgbClr val="183A5C"/>
                </a:solidFill>
              </a:rPr>
              <a:t>World's leading operator</a:t>
            </a:r>
          </a:p>
        </p:txBody>
      </p:sp>
      <p:sp>
        <p:nvSpPr>
          <p:cNvPr id="141" name="Title 2"/>
          <p:cNvSpPr>
            <a:spLocks noGrp="1"/>
          </p:cNvSpPr>
          <p:nvPr>
            <p:ph type="title"/>
          </p:nvPr>
        </p:nvSpPr>
        <p:spPr>
          <a:xfrm>
            <a:off x="362215" y="576139"/>
            <a:ext cx="8407385" cy="568203"/>
          </a:xfrm>
        </p:spPr>
        <p:txBody>
          <a:bodyPr/>
          <a:lstStyle/>
          <a:p>
            <a:r>
              <a:rPr lang="en-GB" sz="1846" dirty="0"/>
              <a:t>DONG Energy Wind Power is the global market leader in Offshore Wind</a:t>
            </a:r>
            <a:br>
              <a:rPr lang="en-GB" sz="1846" dirty="0"/>
            </a:br>
            <a:endParaRPr lang="en-GB" sz="1846" dirty="0"/>
          </a:p>
        </p:txBody>
      </p:sp>
      <p:pic>
        <p:nvPicPr>
          <p:cNvPr id="142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218163" y="3793504"/>
            <a:ext cx="176213" cy="148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5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410212" y="3663304"/>
            <a:ext cx="172719" cy="145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6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489442" y="3655886"/>
            <a:ext cx="172719" cy="145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7" name="TextBox 136"/>
          <p:cNvSpPr txBox="1"/>
          <p:nvPr/>
        </p:nvSpPr>
        <p:spPr bwMode="gray">
          <a:xfrm>
            <a:off x="3669249" y="3651299"/>
            <a:ext cx="782265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Hornsea 2 + 3 + 4 </a:t>
            </a:r>
          </a:p>
        </p:txBody>
      </p:sp>
      <p:pic>
        <p:nvPicPr>
          <p:cNvPr id="143" name="Picture 23" descr="M:\info\lped\- Grafisk Support\Generation\Powerpoint\- art\i_offshoreVin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373333" y="3585480"/>
            <a:ext cx="176213" cy="135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4" name="Picture 23" descr="M:\info\lped\- Grafisk Support\Generation\Powerpoint\- art\i_offshoreVin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317170" y="3636895"/>
            <a:ext cx="176213" cy="135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5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518047" y="2145007"/>
            <a:ext cx="172719" cy="145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1" name="TextBox 150"/>
          <p:cNvSpPr txBox="1"/>
          <p:nvPr/>
        </p:nvSpPr>
        <p:spPr bwMode="gray">
          <a:xfrm>
            <a:off x="1551175" y="2309760"/>
            <a:ext cx="522579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Ocean Wind</a:t>
            </a:r>
          </a:p>
        </p:txBody>
      </p:sp>
      <p:pic>
        <p:nvPicPr>
          <p:cNvPr id="152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186100" y="3378128"/>
            <a:ext cx="176213" cy="148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" name="TextBox 152"/>
          <p:cNvSpPr txBox="1"/>
          <p:nvPr/>
        </p:nvSpPr>
        <p:spPr bwMode="gray">
          <a:xfrm>
            <a:off x="5317341" y="3391567"/>
            <a:ext cx="359073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Avedøre</a:t>
            </a:r>
          </a:p>
        </p:txBody>
      </p:sp>
      <p:pic>
        <p:nvPicPr>
          <p:cNvPr id="154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554260" y="3670397"/>
            <a:ext cx="172719" cy="145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5" name="Rectangle 154"/>
          <p:cNvSpPr/>
          <p:nvPr/>
        </p:nvSpPr>
        <p:spPr bwMode="auto">
          <a:xfrm>
            <a:off x="3981641" y="1473835"/>
            <a:ext cx="1854277" cy="1162185"/>
          </a:xfrm>
          <a:prstGeom prst="rect">
            <a:avLst/>
          </a:prstGeom>
          <a:noFill/>
          <a:ln w="9525">
            <a:solidFill>
              <a:srgbClr val="939680"/>
            </a:solidFill>
            <a:miter lim="800000"/>
            <a:headEnd/>
            <a:tailEnd/>
          </a:ln>
        </p:spPr>
        <p:txBody>
          <a:bodyPr lIns="66462" tIns="66462" rIns="66462" bIns="66462"/>
          <a:lstStyle/>
          <a:p>
            <a:pPr>
              <a:spcBef>
                <a:spcPts val="277"/>
              </a:spcBef>
              <a:spcAft>
                <a:spcPts val="277"/>
              </a:spcAft>
              <a:buSzPct val="80000"/>
            </a:pPr>
            <a:endParaRPr lang="en-GB" sz="923" b="1" dirty="0"/>
          </a:p>
        </p:txBody>
      </p:sp>
      <p:sp>
        <p:nvSpPr>
          <p:cNvPr id="15" name="Content Placeholder 12"/>
          <p:cNvSpPr txBox="1">
            <a:spLocks/>
          </p:cNvSpPr>
          <p:nvPr/>
        </p:nvSpPr>
        <p:spPr bwMode="auto">
          <a:xfrm>
            <a:off x="331176" y="1334504"/>
            <a:ext cx="5503734" cy="16615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>
            <a:solidFill>
              <a:srgbClr val="5E7FA1"/>
            </a:solidFill>
            <a:miter lim="800000"/>
            <a:headEnd/>
            <a:tailEnd/>
          </a:ln>
        </p:spPr>
        <p:txBody>
          <a:bodyPr lIns="33231" tIns="66462" rIns="33231" bIns="66462" anchor="ctr" anchorCtr="0"/>
          <a:lstStyle>
            <a:defPPr lvl="0">
              <a:defRPr lang="da-DK"/>
            </a:defPPr>
            <a:lvl1pPr>
              <a:spcBef>
                <a:spcPts val="300"/>
              </a:spcBef>
              <a:buSzPct val="80000"/>
              <a:defRPr sz="1100" b="1">
                <a:solidFill>
                  <a:prstClr val="white"/>
                </a:solidFill>
              </a:defRPr>
            </a:lvl1pPr>
          </a:lstStyle>
          <a:p>
            <a:r>
              <a:rPr lang="en-GB" sz="1015" dirty="0"/>
              <a:t>DONG Energy Wind Power geographical footprint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368109" y="1900270"/>
            <a:ext cx="407434" cy="258650"/>
            <a:chOff x="5857328" y="1499342"/>
            <a:chExt cx="441387" cy="28020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15" name="AutoShape 3"/>
            <p:cNvSpPr>
              <a:spLocks noChangeAspect="1" noChangeArrowheads="1" noTextEdit="1"/>
            </p:cNvSpPr>
            <p:nvPr/>
          </p:nvSpPr>
          <p:spPr bwMode="auto">
            <a:xfrm>
              <a:off x="5857328" y="1502801"/>
              <a:ext cx="441387" cy="2767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16" name="Rectangle 5"/>
            <p:cNvSpPr>
              <a:spLocks noChangeArrowheads="1"/>
            </p:cNvSpPr>
            <p:nvPr/>
          </p:nvSpPr>
          <p:spPr bwMode="auto">
            <a:xfrm>
              <a:off x="5857328" y="1499342"/>
              <a:ext cx="441387" cy="280204"/>
            </a:xfrm>
            <a:prstGeom prst="rect">
              <a:avLst/>
            </a:prstGeom>
            <a:solidFill>
              <a:srgbClr val="C633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17" name="Rectangle 6"/>
            <p:cNvSpPr>
              <a:spLocks noChangeArrowheads="1"/>
            </p:cNvSpPr>
            <p:nvPr/>
          </p:nvSpPr>
          <p:spPr bwMode="auto">
            <a:xfrm>
              <a:off x="5857328" y="1502801"/>
              <a:ext cx="236252" cy="138372"/>
            </a:xfrm>
            <a:prstGeom prst="rect">
              <a:avLst/>
            </a:prstGeom>
            <a:solidFill>
              <a:srgbClr val="3036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18" name="Freeform 7"/>
            <p:cNvSpPr>
              <a:spLocks noEditPoints="1"/>
            </p:cNvSpPr>
            <p:nvPr/>
          </p:nvSpPr>
          <p:spPr bwMode="auto">
            <a:xfrm>
              <a:off x="5916103" y="1516639"/>
              <a:ext cx="117550" cy="110698"/>
            </a:xfrm>
            <a:custGeom>
              <a:avLst/>
              <a:gdLst>
                <a:gd name="T0" fmla="*/ 179 w 306"/>
                <a:gd name="T1" fmla="*/ 68 h 289"/>
                <a:gd name="T2" fmla="*/ 204 w 306"/>
                <a:gd name="T3" fmla="*/ 79 h 289"/>
                <a:gd name="T4" fmla="*/ 126 w 306"/>
                <a:gd name="T5" fmla="*/ 68 h 289"/>
                <a:gd name="T6" fmla="*/ 94 w 306"/>
                <a:gd name="T7" fmla="*/ 85 h 289"/>
                <a:gd name="T8" fmla="*/ 117 w 306"/>
                <a:gd name="T9" fmla="*/ 70 h 289"/>
                <a:gd name="T10" fmla="*/ 171 w 306"/>
                <a:gd name="T11" fmla="*/ 65 h 289"/>
                <a:gd name="T12" fmla="*/ 134 w 306"/>
                <a:gd name="T13" fmla="*/ 65 h 289"/>
                <a:gd name="T14" fmla="*/ 152 w 306"/>
                <a:gd name="T15" fmla="*/ 62 h 289"/>
                <a:gd name="T16" fmla="*/ 171 w 306"/>
                <a:gd name="T17" fmla="*/ 65 h 289"/>
                <a:gd name="T18" fmla="*/ 145 w 306"/>
                <a:gd name="T19" fmla="*/ 70 h 289"/>
                <a:gd name="T20" fmla="*/ 121 w 306"/>
                <a:gd name="T21" fmla="*/ 76 h 289"/>
                <a:gd name="T22" fmla="*/ 95 w 306"/>
                <a:gd name="T23" fmla="*/ 92 h 289"/>
                <a:gd name="T24" fmla="*/ 79 w 306"/>
                <a:gd name="T25" fmla="*/ 115 h 289"/>
                <a:gd name="T26" fmla="*/ 73 w 306"/>
                <a:gd name="T27" fmla="*/ 137 h 289"/>
                <a:gd name="T28" fmla="*/ 73 w 306"/>
                <a:gd name="T29" fmla="*/ 153 h 289"/>
                <a:gd name="T30" fmla="*/ 79 w 306"/>
                <a:gd name="T31" fmla="*/ 174 h 289"/>
                <a:gd name="T32" fmla="*/ 95 w 306"/>
                <a:gd name="T33" fmla="*/ 198 h 289"/>
                <a:gd name="T34" fmla="*/ 121 w 306"/>
                <a:gd name="T35" fmla="*/ 214 h 289"/>
                <a:gd name="T36" fmla="*/ 145 w 306"/>
                <a:gd name="T37" fmla="*/ 220 h 289"/>
                <a:gd name="T38" fmla="*/ 161 w 306"/>
                <a:gd name="T39" fmla="*/ 220 h 289"/>
                <a:gd name="T40" fmla="*/ 183 w 306"/>
                <a:gd name="T41" fmla="*/ 214 h 289"/>
                <a:gd name="T42" fmla="*/ 209 w 306"/>
                <a:gd name="T43" fmla="*/ 198 h 289"/>
                <a:gd name="T44" fmla="*/ 227 w 306"/>
                <a:gd name="T45" fmla="*/ 174 h 289"/>
                <a:gd name="T46" fmla="*/ 233 w 306"/>
                <a:gd name="T47" fmla="*/ 153 h 289"/>
                <a:gd name="T48" fmla="*/ 233 w 306"/>
                <a:gd name="T49" fmla="*/ 137 h 289"/>
                <a:gd name="T50" fmla="*/ 227 w 306"/>
                <a:gd name="T51" fmla="*/ 115 h 289"/>
                <a:gd name="T52" fmla="*/ 209 w 306"/>
                <a:gd name="T53" fmla="*/ 92 h 289"/>
                <a:gd name="T54" fmla="*/ 183 w 306"/>
                <a:gd name="T55" fmla="*/ 76 h 289"/>
                <a:gd name="T56" fmla="*/ 161 w 306"/>
                <a:gd name="T57" fmla="*/ 70 h 289"/>
                <a:gd name="T58" fmla="*/ 306 w 306"/>
                <a:gd name="T59" fmla="*/ 144 h 289"/>
                <a:gd name="T60" fmla="*/ 239 w 306"/>
                <a:gd name="T61" fmla="*/ 136 h 289"/>
                <a:gd name="T62" fmla="*/ 239 w 306"/>
                <a:gd name="T63" fmla="*/ 154 h 289"/>
                <a:gd name="T64" fmla="*/ 235 w 306"/>
                <a:gd name="T65" fmla="*/ 120 h 289"/>
                <a:gd name="T66" fmla="*/ 217 w 306"/>
                <a:gd name="T67" fmla="*/ 90 h 289"/>
                <a:gd name="T68" fmla="*/ 235 w 306"/>
                <a:gd name="T69" fmla="*/ 120 h 289"/>
                <a:gd name="T70" fmla="*/ 20 w 306"/>
                <a:gd name="T71" fmla="*/ 217 h 289"/>
                <a:gd name="T72" fmla="*/ 83 w 306"/>
                <a:gd name="T73" fmla="*/ 193 h 289"/>
                <a:gd name="T74" fmla="*/ 70 w 306"/>
                <a:gd name="T75" fmla="*/ 170 h 289"/>
                <a:gd name="T76" fmla="*/ 229 w 306"/>
                <a:gd name="T77" fmla="*/ 270 h 289"/>
                <a:gd name="T78" fmla="*/ 204 w 306"/>
                <a:gd name="T79" fmla="*/ 211 h 289"/>
                <a:gd name="T80" fmla="*/ 179 w 306"/>
                <a:gd name="T81" fmla="*/ 222 h 289"/>
                <a:gd name="T82" fmla="*/ 286 w 306"/>
                <a:gd name="T83" fmla="*/ 217 h 289"/>
                <a:gd name="T84" fmla="*/ 231 w 306"/>
                <a:gd name="T85" fmla="*/ 178 h 289"/>
                <a:gd name="T86" fmla="*/ 217 w 306"/>
                <a:gd name="T87" fmla="*/ 200 h 289"/>
                <a:gd name="T88" fmla="*/ 152 w 306"/>
                <a:gd name="T89" fmla="*/ 289 h 289"/>
                <a:gd name="T90" fmla="*/ 162 w 306"/>
                <a:gd name="T91" fmla="*/ 226 h 289"/>
                <a:gd name="T92" fmla="*/ 143 w 306"/>
                <a:gd name="T93" fmla="*/ 226 h 289"/>
                <a:gd name="T94" fmla="*/ 88 w 306"/>
                <a:gd name="T95" fmla="*/ 90 h 289"/>
                <a:gd name="T96" fmla="*/ 70 w 306"/>
                <a:gd name="T97" fmla="*/ 120 h 289"/>
                <a:gd name="T98" fmla="*/ 83 w 306"/>
                <a:gd name="T99" fmla="*/ 97 h 289"/>
                <a:gd name="T100" fmla="*/ 65 w 306"/>
                <a:gd name="T101" fmla="*/ 144 h 289"/>
                <a:gd name="T102" fmla="*/ 68 w 306"/>
                <a:gd name="T103" fmla="*/ 127 h 289"/>
                <a:gd name="T104" fmla="*/ 68 w 306"/>
                <a:gd name="T105" fmla="*/ 162 h 289"/>
                <a:gd name="T106" fmla="*/ 65 w 306"/>
                <a:gd name="T107" fmla="*/ 144 h 289"/>
                <a:gd name="T108" fmla="*/ 126 w 306"/>
                <a:gd name="T109" fmla="*/ 222 h 289"/>
                <a:gd name="T110" fmla="*/ 101 w 306"/>
                <a:gd name="T111" fmla="*/ 211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6" h="289">
                  <a:moveTo>
                    <a:pt x="229" y="20"/>
                  </a:moveTo>
                  <a:lnTo>
                    <a:pt x="179" y="68"/>
                  </a:lnTo>
                  <a:lnTo>
                    <a:pt x="179" y="68"/>
                  </a:lnTo>
                  <a:lnTo>
                    <a:pt x="188" y="70"/>
                  </a:lnTo>
                  <a:lnTo>
                    <a:pt x="197" y="75"/>
                  </a:lnTo>
                  <a:lnTo>
                    <a:pt x="204" y="79"/>
                  </a:lnTo>
                  <a:lnTo>
                    <a:pt x="212" y="85"/>
                  </a:lnTo>
                  <a:lnTo>
                    <a:pt x="229" y="20"/>
                  </a:lnTo>
                  <a:close/>
                  <a:moveTo>
                    <a:pt x="126" y="68"/>
                  </a:moveTo>
                  <a:lnTo>
                    <a:pt x="77" y="20"/>
                  </a:lnTo>
                  <a:lnTo>
                    <a:pt x="94" y="85"/>
                  </a:lnTo>
                  <a:lnTo>
                    <a:pt x="94" y="85"/>
                  </a:lnTo>
                  <a:lnTo>
                    <a:pt x="101" y="79"/>
                  </a:lnTo>
                  <a:lnTo>
                    <a:pt x="109" y="75"/>
                  </a:lnTo>
                  <a:lnTo>
                    <a:pt x="117" y="70"/>
                  </a:lnTo>
                  <a:lnTo>
                    <a:pt x="126" y="68"/>
                  </a:lnTo>
                  <a:lnTo>
                    <a:pt x="126" y="68"/>
                  </a:lnTo>
                  <a:close/>
                  <a:moveTo>
                    <a:pt x="171" y="65"/>
                  </a:moveTo>
                  <a:lnTo>
                    <a:pt x="152" y="0"/>
                  </a:lnTo>
                  <a:lnTo>
                    <a:pt x="134" y="65"/>
                  </a:lnTo>
                  <a:lnTo>
                    <a:pt x="134" y="65"/>
                  </a:lnTo>
                  <a:lnTo>
                    <a:pt x="143" y="63"/>
                  </a:lnTo>
                  <a:lnTo>
                    <a:pt x="152" y="62"/>
                  </a:lnTo>
                  <a:lnTo>
                    <a:pt x="152" y="62"/>
                  </a:lnTo>
                  <a:lnTo>
                    <a:pt x="162" y="63"/>
                  </a:lnTo>
                  <a:lnTo>
                    <a:pt x="171" y="65"/>
                  </a:lnTo>
                  <a:lnTo>
                    <a:pt x="171" y="65"/>
                  </a:lnTo>
                  <a:close/>
                  <a:moveTo>
                    <a:pt x="152" y="70"/>
                  </a:moveTo>
                  <a:lnTo>
                    <a:pt x="152" y="70"/>
                  </a:lnTo>
                  <a:lnTo>
                    <a:pt x="145" y="70"/>
                  </a:lnTo>
                  <a:lnTo>
                    <a:pt x="136" y="71"/>
                  </a:lnTo>
                  <a:lnTo>
                    <a:pt x="129" y="73"/>
                  </a:lnTo>
                  <a:lnTo>
                    <a:pt x="121" y="76"/>
                  </a:lnTo>
                  <a:lnTo>
                    <a:pt x="114" y="79"/>
                  </a:lnTo>
                  <a:lnTo>
                    <a:pt x="108" y="83"/>
                  </a:lnTo>
                  <a:lnTo>
                    <a:pt x="95" y="92"/>
                  </a:lnTo>
                  <a:lnTo>
                    <a:pt x="86" y="102"/>
                  </a:lnTo>
                  <a:lnTo>
                    <a:pt x="82" y="108"/>
                  </a:lnTo>
                  <a:lnTo>
                    <a:pt x="79" y="115"/>
                  </a:lnTo>
                  <a:lnTo>
                    <a:pt x="77" y="122"/>
                  </a:lnTo>
                  <a:lnTo>
                    <a:pt x="74" y="129"/>
                  </a:lnTo>
                  <a:lnTo>
                    <a:pt x="73" y="137"/>
                  </a:lnTo>
                  <a:lnTo>
                    <a:pt x="73" y="144"/>
                  </a:lnTo>
                  <a:lnTo>
                    <a:pt x="73" y="144"/>
                  </a:lnTo>
                  <a:lnTo>
                    <a:pt x="73" y="153"/>
                  </a:lnTo>
                  <a:lnTo>
                    <a:pt x="74" y="160"/>
                  </a:lnTo>
                  <a:lnTo>
                    <a:pt x="77" y="167"/>
                  </a:lnTo>
                  <a:lnTo>
                    <a:pt x="79" y="174"/>
                  </a:lnTo>
                  <a:lnTo>
                    <a:pt x="82" y="181"/>
                  </a:lnTo>
                  <a:lnTo>
                    <a:pt x="86" y="188"/>
                  </a:lnTo>
                  <a:lnTo>
                    <a:pt x="95" y="198"/>
                  </a:lnTo>
                  <a:lnTo>
                    <a:pt x="108" y="207"/>
                  </a:lnTo>
                  <a:lnTo>
                    <a:pt x="114" y="212"/>
                  </a:lnTo>
                  <a:lnTo>
                    <a:pt x="121" y="214"/>
                  </a:lnTo>
                  <a:lnTo>
                    <a:pt x="129" y="217"/>
                  </a:lnTo>
                  <a:lnTo>
                    <a:pt x="136" y="219"/>
                  </a:lnTo>
                  <a:lnTo>
                    <a:pt x="145" y="220"/>
                  </a:lnTo>
                  <a:lnTo>
                    <a:pt x="152" y="220"/>
                  </a:lnTo>
                  <a:lnTo>
                    <a:pt x="152" y="220"/>
                  </a:lnTo>
                  <a:lnTo>
                    <a:pt x="161" y="220"/>
                  </a:lnTo>
                  <a:lnTo>
                    <a:pt x="168" y="219"/>
                  </a:lnTo>
                  <a:lnTo>
                    <a:pt x="176" y="217"/>
                  </a:lnTo>
                  <a:lnTo>
                    <a:pt x="183" y="214"/>
                  </a:lnTo>
                  <a:lnTo>
                    <a:pt x="191" y="212"/>
                  </a:lnTo>
                  <a:lnTo>
                    <a:pt x="197" y="207"/>
                  </a:lnTo>
                  <a:lnTo>
                    <a:pt x="209" y="198"/>
                  </a:lnTo>
                  <a:lnTo>
                    <a:pt x="219" y="188"/>
                  </a:lnTo>
                  <a:lnTo>
                    <a:pt x="223" y="181"/>
                  </a:lnTo>
                  <a:lnTo>
                    <a:pt x="227" y="174"/>
                  </a:lnTo>
                  <a:lnTo>
                    <a:pt x="229" y="167"/>
                  </a:lnTo>
                  <a:lnTo>
                    <a:pt x="231" y="160"/>
                  </a:lnTo>
                  <a:lnTo>
                    <a:pt x="233" y="153"/>
                  </a:lnTo>
                  <a:lnTo>
                    <a:pt x="233" y="144"/>
                  </a:lnTo>
                  <a:lnTo>
                    <a:pt x="233" y="144"/>
                  </a:lnTo>
                  <a:lnTo>
                    <a:pt x="233" y="137"/>
                  </a:lnTo>
                  <a:lnTo>
                    <a:pt x="231" y="129"/>
                  </a:lnTo>
                  <a:lnTo>
                    <a:pt x="229" y="122"/>
                  </a:lnTo>
                  <a:lnTo>
                    <a:pt x="227" y="115"/>
                  </a:lnTo>
                  <a:lnTo>
                    <a:pt x="223" y="108"/>
                  </a:lnTo>
                  <a:lnTo>
                    <a:pt x="219" y="102"/>
                  </a:lnTo>
                  <a:lnTo>
                    <a:pt x="209" y="92"/>
                  </a:lnTo>
                  <a:lnTo>
                    <a:pt x="197" y="83"/>
                  </a:lnTo>
                  <a:lnTo>
                    <a:pt x="191" y="79"/>
                  </a:lnTo>
                  <a:lnTo>
                    <a:pt x="183" y="76"/>
                  </a:lnTo>
                  <a:lnTo>
                    <a:pt x="176" y="73"/>
                  </a:lnTo>
                  <a:lnTo>
                    <a:pt x="168" y="71"/>
                  </a:lnTo>
                  <a:lnTo>
                    <a:pt x="161" y="70"/>
                  </a:lnTo>
                  <a:lnTo>
                    <a:pt x="152" y="70"/>
                  </a:lnTo>
                  <a:lnTo>
                    <a:pt x="152" y="70"/>
                  </a:lnTo>
                  <a:close/>
                  <a:moveTo>
                    <a:pt x="306" y="144"/>
                  </a:moveTo>
                  <a:lnTo>
                    <a:pt x="238" y="127"/>
                  </a:lnTo>
                  <a:lnTo>
                    <a:pt x="238" y="127"/>
                  </a:lnTo>
                  <a:lnTo>
                    <a:pt x="239" y="136"/>
                  </a:lnTo>
                  <a:lnTo>
                    <a:pt x="240" y="144"/>
                  </a:lnTo>
                  <a:lnTo>
                    <a:pt x="240" y="144"/>
                  </a:lnTo>
                  <a:lnTo>
                    <a:pt x="239" y="154"/>
                  </a:lnTo>
                  <a:lnTo>
                    <a:pt x="238" y="162"/>
                  </a:lnTo>
                  <a:lnTo>
                    <a:pt x="306" y="144"/>
                  </a:lnTo>
                  <a:close/>
                  <a:moveTo>
                    <a:pt x="235" y="120"/>
                  </a:moveTo>
                  <a:lnTo>
                    <a:pt x="286" y="72"/>
                  </a:lnTo>
                  <a:lnTo>
                    <a:pt x="217" y="90"/>
                  </a:lnTo>
                  <a:lnTo>
                    <a:pt x="217" y="90"/>
                  </a:lnTo>
                  <a:lnTo>
                    <a:pt x="228" y="105"/>
                  </a:lnTo>
                  <a:lnTo>
                    <a:pt x="231" y="112"/>
                  </a:lnTo>
                  <a:lnTo>
                    <a:pt x="235" y="120"/>
                  </a:lnTo>
                  <a:lnTo>
                    <a:pt x="235" y="120"/>
                  </a:lnTo>
                  <a:close/>
                  <a:moveTo>
                    <a:pt x="70" y="170"/>
                  </a:moveTo>
                  <a:lnTo>
                    <a:pt x="20" y="217"/>
                  </a:lnTo>
                  <a:lnTo>
                    <a:pt x="88" y="200"/>
                  </a:lnTo>
                  <a:lnTo>
                    <a:pt x="88" y="200"/>
                  </a:lnTo>
                  <a:lnTo>
                    <a:pt x="83" y="193"/>
                  </a:lnTo>
                  <a:lnTo>
                    <a:pt x="78" y="186"/>
                  </a:lnTo>
                  <a:lnTo>
                    <a:pt x="73" y="178"/>
                  </a:lnTo>
                  <a:lnTo>
                    <a:pt x="70" y="170"/>
                  </a:lnTo>
                  <a:lnTo>
                    <a:pt x="70" y="170"/>
                  </a:lnTo>
                  <a:close/>
                  <a:moveTo>
                    <a:pt x="179" y="222"/>
                  </a:moveTo>
                  <a:lnTo>
                    <a:pt x="229" y="270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04" y="211"/>
                  </a:lnTo>
                  <a:lnTo>
                    <a:pt x="197" y="215"/>
                  </a:lnTo>
                  <a:lnTo>
                    <a:pt x="188" y="220"/>
                  </a:lnTo>
                  <a:lnTo>
                    <a:pt x="179" y="222"/>
                  </a:lnTo>
                  <a:lnTo>
                    <a:pt x="179" y="222"/>
                  </a:lnTo>
                  <a:close/>
                  <a:moveTo>
                    <a:pt x="217" y="200"/>
                  </a:moveTo>
                  <a:lnTo>
                    <a:pt x="286" y="217"/>
                  </a:lnTo>
                  <a:lnTo>
                    <a:pt x="235" y="170"/>
                  </a:lnTo>
                  <a:lnTo>
                    <a:pt x="235" y="170"/>
                  </a:lnTo>
                  <a:lnTo>
                    <a:pt x="231" y="178"/>
                  </a:lnTo>
                  <a:lnTo>
                    <a:pt x="228" y="186"/>
                  </a:lnTo>
                  <a:lnTo>
                    <a:pt x="223" y="193"/>
                  </a:lnTo>
                  <a:lnTo>
                    <a:pt x="217" y="200"/>
                  </a:lnTo>
                  <a:lnTo>
                    <a:pt x="217" y="200"/>
                  </a:lnTo>
                  <a:close/>
                  <a:moveTo>
                    <a:pt x="134" y="225"/>
                  </a:moveTo>
                  <a:lnTo>
                    <a:pt x="152" y="289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62" y="226"/>
                  </a:lnTo>
                  <a:lnTo>
                    <a:pt x="152" y="227"/>
                  </a:lnTo>
                  <a:lnTo>
                    <a:pt x="152" y="227"/>
                  </a:lnTo>
                  <a:lnTo>
                    <a:pt x="143" y="226"/>
                  </a:lnTo>
                  <a:lnTo>
                    <a:pt x="134" y="225"/>
                  </a:lnTo>
                  <a:lnTo>
                    <a:pt x="134" y="225"/>
                  </a:lnTo>
                  <a:close/>
                  <a:moveTo>
                    <a:pt x="88" y="90"/>
                  </a:moveTo>
                  <a:lnTo>
                    <a:pt x="20" y="72"/>
                  </a:lnTo>
                  <a:lnTo>
                    <a:pt x="70" y="120"/>
                  </a:lnTo>
                  <a:lnTo>
                    <a:pt x="70" y="120"/>
                  </a:lnTo>
                  <a:lnTo>
                    <a:pt x="73" y="112"/>
                  </a:lnTo>
                  <a:lnTo>
                    <a:pt x="78" y="105"/>
                  </a:lnTo>
                  <a:lnTo>
                    <a:pt x="83" y="97"/>
                  </a:lnTo>
                  <a:lnTo>
                    <a:pt x="88" y="90"/>
                  </a:lnTo>
                  <a:lnTo>
                    <a:pt x="88" y="90"/>
                  </a:lnTo>
                  <a:close/>
                  <a:moveTo>
                    <a:pt x="65" y="144"/>
                  </a:moveTo>
                  <a:lnTo>
                    <a:pt x="65" y="144"/>
                  </a:lnTo>
                  <a:lnTo>
                    <a:pt x="65" y="136"/>
                  </a:lnTo>
                  <a:lnTo>
                    <a:pt x="68" y="127"/>
                  </a:lnTo>
                  <a:lnTo>
                    <a:pt x="0" y="144"/>
                  </a:lnTo>
                  <a:lnTo>
                    <a:pt x="68" y="162"/>
                  </a:lnTo>
                  <a:lnTo>
                    <a:pt x="68" y="162"/>
                  </a:lnTo>
                  <a:lnTo>
                    <a:pt x="65" y="154"/>
                  </a:lnTo>
                  <a:lnTo>
                    <a:pt x="65" y="144"/>
                  </a:lnTo>
                  <a:lnTo>
                    <a:pt x="65" y="144"/>
                  </a:lnTo>
                  <a:close/>
                  <a:moveTo>
                    <a:pt x="77" y="270"/>
                  </a:moveTo>
                  <a:lnTo>
                    <a:pt x="126" y="222"/>
                  </a:lnTo>
                  <a:lnTo>
                    <a:pt x="126" y="222"/>
                  </a:lnTo>
                  <a:lnTo>
                    <a:pt x="117" y="220"/>
                  </a:lnTo>
                  <a:lnTo>
                    <a:pt x="109" y="215"/>
                  </a:lnTo>
                  <a:lnTo>
                    <a:pt x="101" y="211"/>
                  </a:lnTo>
                  <a:lnTo>
                    <a:pt x="94" y="206"/>
                  </a:lnTo>
                  <a:lnTo>
                    <a:pt x="77" y="2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</p:grpSp>
      <p:grpSp>
        <p:nvGrpSpPr>
          <p:cNvPr id="220" name="Group 219"/>
          <p:cNvGrpSpPr>
            <a:grpSpLocks noChangeAspect="1"/>
          </p:cNvGrpSpPr>
          <p:nvPr/>
        </p:nvGrpSpPr>
        <p:grpSpPr>
          <a:xfrm>
            <a:off x="3988856" y="1508253"/>
            <a:ext cx="1548416" cy="1094090"/>
            <a:chOff x="5073651" y="1271588"/>
            <a:chExt cx="4241800" cy="2997200"/>
          </a:xfrm>
        </p:grpSpPr>
        <p:sp>
          <p:nvSpPr>
            <p:cNvPr id="221" name="Freeform 48"/>
            <p:cNvSpPr>
              <a:spLocks/>
            </p:cNvSpPr>
            <p:nvPr/>
          </p:nvSpPr>
          <p:spPr bwMode="auto">
            <a:xfrm>
              <a:off x="7704138" y="2979738"/>
              <a:ext cx="88900" cy="114300"/>
            </a:xfrm>
            <a:custGeom>
              <a:avLst/>
              <a:gdLst>
                <a:gd name="T0" fmla="*/ 13 w 56"/>
                <a:gd name="T1" fmla="*/ 6 h 72"/>
                <a:gd name="T2" fmla="*/ 13 w 56"/>
                <a:gd name="T3" fmla="*/ 6 h 72"/>
                <a:gd name="T4" fmla="*/ 3 w 56"/>
                <a:gd name="T5" fmla="*/ 13 h 72"/>
                <a:gd name="T6" fmla="*/ 3 w 56"/>
                <a:gd name="T7" fmla="*/ 13 h 72"/>
                <a:gd name="T8" fmla="*/ 5 w 56"/>
                <a:gd name="T9" fmla="*/ 18 h 72"/>
                <a:gd name="T10" fmla="*/ 6 w 56"/>
                <a:gd name="T11" fmla="*/ 21 h 72"/>
                <a:gd name="T12" fmla="*/ 9 w 56"/>
                <a:gd name="T13" fmla="*/ 21 h 72"/>
                <a:gd name="T14" fmla="*/ 9 w 56"/>
                <a:gd name="T15" fmla="*/ 21 h 72"/>
                <a:gd name="T16" fmla="*/ 10 w 56"/>
                <a:gd name="T17" fmla="*/ 22 h 72"/>
                <a:gd name="T18" fmla="*/ 12 w 56"/>
                <a:gd name="T19" fmla="*/ 25 h 72"/>
                <a:gd name="T20" fmla="*/ 10 w 56"/>
                <a:gd name="T21" fmla="*/ 28 h 72"/>
                <a:gd name="T22" fmla="*/ 7 w 56"/>
                <a:gd name="T23" fmla="*/ 28 h 72"/>
                <a:gd name="T24" fmla="*/ 7 w 56"/>
                <a:gd name="T25" fmla="*/ 28 h 72"/>
                <a:gd name="T26" fmla="*/ 6 w 56"/>
                <a:gd name="T27" fmla="*/ 28 h 72"/>
                <a:gd name="T28" fmla="*/ 5 w 56"/>
                <a:gd name="T29" fmla="*/ 29 h 72"/>
                <a:gd name="T30" fmla="*/ 3 w 56"/>
                <a:gd name="T31" fmla="*/ 32 h 72"/>
                <a:gd name="T32" fmla="*/ 5 w 56"/>
                <a:gd name="T33" fmla="*/ 38 h 72"/>
                <a:gd name="T34" fmla="*/ 6 w 56"/>
                <a:gd name="T35" fmla="*/ 43 h 72"/>
                <a:gd name="T36" fmla="*/ 6 w 56"/>
                <a:gd name="T37" fmla="*/ 43 h 72"/>
                <a:gd name="T38" fmla="*/ 7 w 56"/>
                <a:gd name="T39" fmla="*/ 46 h 72"/>
                <a:gd name="T40" fmla="*/ 7 w 56"/>
                <a:gd name="T41" fmla="*/ 47 h 72"/>
                <a:gd name="T42" fmla="*/ 5 w 56"/>
                <a:gd name="T43" fmla="*/ 53 h 72"/>
                <a:gd name="T44" fmla="*/ 2 w 56"/>
                <a:gd name="T45" fmla="*/ 58 h 72"/>
                <a:gd name="T46" fmla="*/ 0 w 56"/>
                <a:gd name="T47" fmla="*/ 60 h 72"/>
                <a:gd name="T48" fmla="*/ 2 w 56"/>
                <a:gd name="T49" fmla="*/ 61 h 72"/>
                <a:gd name="T50" fmla="*/ 2 w 56"/>
                <a:gd name="T51" fmla="*/ 61 h 72"/>
                <a:gd name="T52" fmla="*/ 3 w 56"/>
                <a:gd name="T53" fmla="*/ 64 h 72"/>
                <a:gd name="T54" fmla="*/ 3 w 56"/>
                <a:gd name="T55" fmla="*/ 67 h 72"/>
                <a:gd name="T56" fmla="*/ 3 w 56"/>
                <a:gd name="T57" fmla="*/ 69 h 72"/>
                <a:gd name="T58" fmla="*/ 3 w 56"/>
                <a:gd name="T59" fmla="*/ 72 h 72"/>
                <a:gd name="T60" fmla="*/ 3 w 56"/>
                <a:gd name="T61" fmla="*/ 72 h 72"/>
                <a:gd name="T62" fmla="*/ 7 w 56"/>
                <a:gd name="T63" fmla="*/ 72 h 72"/>
                <a:gd name="T64" fmla="*/ 16 w 56"/>
                <a:gd name="T65" fmla="*/ 71 h 72"/>
                <a:gd name="T66" fmla="*/ 25 w 56"/>
                <a:gd name="T67" fmla="*/ 68 h 72"/>
                <a:gd name="T68" fmla="*/ 30 w 56"/>
                <a:gd name="T69" fmla="*/ 65 h 72"/>
                <a:gd name="T70" fmla="*/ 34 w 56"/>
                <a:gd name="T71" fmla="*/ 63 h 72"/>
                <a:gd name="T72" fmla="*/ 34 w 56"/>
                <a:gd name="T73" fmla="*/ 63 h 72"/>
                <a:gd name="T74" fmla="*/ 39 w 56"/>
                <a:gd name="T75" fmla="*/ 57 h 72"/>
                <a:gd name="T76" fmla="*/ 44 w 56"/>
                <a:gd name="T77" fmla="*/ 56 h 72"/>
                <a:gd name="T78" fmla="*/ 46 w 56"/>
                <a:gd name="T79" fmla="*/ 56 h 72"/>
                <a:gd name="T80" fmla="*/ 49 w 56"/>
                <a:gd name="T81" fmla="*/ 56 h 72"/>
                <a:gd name="T82" fmla="*/ 49 w 56"/>
                <a:gd name="T83" fmla="*/ 56 h 72"/>
                <a:gd name="T84" fmla="*/ 52 w 56"/>
                <a:gd name="T85" fmla="*/ 56 h 72"/>
                <a:gd name="T86" fmla="*/ 55 w 56"/>
                <a:gd name="T87" fmla="*/ 54 h 72"/>
                <a:gd name="T88" fmla="*/ 56 w 56"/>
                <a:gd name="T89" fmla="*/ 51 h 72"/>
                <a:gd name="T90" fmla="*/ 56 w 56"/>
                <a:gd name="T91" fmla="*/ 49 h 72"/>
                <a:gd name="T92" fmla="*/ 56 w 56"/>
                <a:gd name="T93" fmla="*/ 49 h 72"/>
                <a:gd name="T94" fmla="*/ 53 w 56"/>
                <a:gd name="T95" fmla="*/ 46 h 72"/>
                <a:gd name="T96" fmla="*/ 52 w 56"/>
                <a:gd name="T97" fmla="*/ 40 h 72"/>
                <a:gd name="T98" fmla="*/ 52 w 56"/>
                <a:gd name="T99" fmla="*/ 33 h 72"/>
                <a:gd name="T100" fmla="*/ 52 w 56"/>
                <a:gd name="T101" fmla="*/ 26 h 72"/>
                <a:gd name="T102" fmla="*/ 52 w 56"/>
                <a:gd name="T103" fmla="*/ 26 h 72"/>
                <a:gd name="T104" fmla="*/ 50 w 56"/>
                <a:gd name="T105" fmla="*/ 21 h 72"/>
                <a:gd name="T106" fmla="*/ 46 w 56"/>
                <a:gd name="T107" fmla="*/ 14 h 72"/>
                <a:gd name="T108" fmla="*/ 35 w 56"/>
                <a:gd name="T109" fmla="*/ 0 h 72"/>
                <a:gd name="T110" fmla="*/ 35 w 56"/>
                <a:gd name="T111" fmla="*/ 0 h 72"/>
                <a:gd name="T112" fmla="*/ 31 w 56"/>
                <a:gd name="T113" fmla="*/ 3 h 72"/>
                <a:gd name="T114" fmla="*/ 27 w 56"/>
                <a:gd name="T115" fmla="*/ 3 h 72"/>
                <a:gd name="T116" fmla="*/ 27 w 56"/>
                <a:gd name="T117" fmla="*/ 3 h 72"/>
                <a:gd name="T118" fmla="*/ 19 w 56"/>
                <a:gd name="T119" fmla="*/ 4 h 72"/>
                <a:gd name="T120" fmla="*/ 14 w 56"/>
                <a:gd name="T121" fmla="*/ 4 h 72"/>
                <a:gd name="T122" fmla="*/ 13 w 56"/>
                <a:gd name="T123" fmla="*/ 6 h 72"/>
                <a:gd name="T124" fmla="*/ 13 w 56"/>
                <a:gd name="T125" fmla="*/ 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6" h="72">
                  <a:moveTo>
                    <a:pt x="13" y="6"/>
                  </a:moveTo>
                  <a:lnTo>
                    <a:pt x="13" y="6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5" y="18"/>
                  </a:lnTo>
                  <a:lnTo>
                    <a:pt x="6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10" y="22"/>
                  </a:lnTo>
                  <a:lnTo>
                    <a:pt x="12" y="25"/>
                  </a:lnTo>
                  <a:lnTo>
                    <a:pt x="10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6" y="28"/>
                  </a:lnTo>
                  <a:lnTo>
                    <a:pt x="5" y="29"/>
                  </a:lnTo>
                  <a:lnTo>
                    <a:pt x="3" y="32"/>
                  </a:lnTo>
                  <a:lnTo>
                    <a:pt x="5" y="38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7" y="46"/>
                  </a:lnTo>
                  <a:lnTo>
                    <a:pt x="7" y="47"/>
                  </a:lnTo>
                  <a:lnTo>
                    <a:pt x="5" y="53"/>
                  </a:lnTo>
                  <a:lnTo>
                    <a:pt x="2" y="58"/>
                  </a:lnTo>
                  <a:lnTo>
                    <a:pt x="0" y="60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3" y="64"/>
                  </a:lnTo>
                  <a:lnTo>
                    <a:pt x="3" y="67"/>
                  </a:lnTo>
                  <a:lnTo>
                    <a:pt x="3" y="69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7" y="72"/>
                  </a:lnTo>
                  <a:lnTo>
                    <a:pt x="16" y="71"/>
                  </a:lnTo>
                  <a:lnTo>
                    <a:pt x="25" y="68"/>
                  </a:lnTo>
                  <a:lnTo>
                    <a:pt x="30" y="65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9" y="57"/>
                  </a:lnTo>
                  <a:lnTo>
                    <a:pt x="44" y="56"/>
                  </a:lnTo>
                  <a:lnTo>
                    <a:pt x="46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52" y="56"/>
                  </a:lnTo>
                  <a:lnTo>
                    <a:pt x="55" y="54"/>
                  </a:lnTo>
                  <a:lnTo>
                    <a:pt x="56" y="51"/>
                  </a:lnTo>
                  <a:lnTo>
                    <a:pt x="56" y="49"/>
                  </a:lnTo>
                  <a:lnTo>
                    <a:pt x="56" y="49"/>
                  </a:lnTo>
                  <a:lnTo>
                    <a:pt x="53" y="46"/>
                  </a:lnTo>
                  <a:lnTo>
                    <a:pt x="52" y="40"/>
                  </a:lnTo>
                  <a:lnTo>
                    <a:pt x="52" y="33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0" y="21"/>
                  </a:lnTo>
                  <a:lnTo>
                    <a:pt x="46" y="14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1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19" y="4"/>
                  </a:lnTo>
                  <a:lnTo>
                    <a:pt x="14" y="4"/>
                  </a:lnTo>
                  <a:lnTo>
                    <a:pt x="13" y="6"/>
                  </a:lnTo>
                  <a:lnTo>
                    <a:pt x="13" y="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22" name="Freeform 49"/>
            <p:cNvSpPr>
              <a:spLocks/>
            </p:cNvSpPr>
            <p:nvPr/>
          </p:nvSpPr>
          <p:spPr bwMode="auto">
            <a:xfrm>
              <a:off x="6772276" y="3319463"/>
              <a:ext cx="103188" cy="138113"/>
            </a:xfrm>
            <a:custGeom>
              <a:avLst/>
              <a:gdLst>
                <a:gd name="T0" fmla="*/ 65 w 65"/>
                <a:gd name="T1" fmla="*/ 72 h 87"/>
                <a:gd name="T2" fmla="*/ 61 w 65"/>
                <a:gd name="T3" fmla="*/ 44 h 87"/>
                <a:gd name="T4" fmla="*/ 60 w 65"/>
                <a:gd name="T5" fmla="*/ 41 h 87"/>
                <a:gd name="T6" fmla="*/ 54 w 65"/>
                <a:gd name="T7" fmla="*/ 48 h 87"/>
                <a:gd name="T8" fmla="*/ 50 w 65"/>
                <a:gd name="T9" fmla="*/ 54 h 87"/>
                <a:gd name="T10" fmla="*/ 49 w 65"/>
                <a:gd name="T11" fmla="*/ 54 h 87"/>
                <a:gd name="T12" fmla="*/ 46 w 65"/>
                <a:gd name="T13" fmla="*/ 51 h 87"/>
                <a:gd name="T14" fmla="*/ 46 w 65"/>
                <a:gd name="T15" fmla="*/ 40 h 87"/>
                <a:gd name="T16" fmla="*/ 49 w 65"/>
                <a:gd name="T17" fmla="*/ 37 h 87"/>
                <a:gd name="T18" fmla="*/ 52 w 65"/>
                <a:gd name="T19" fmla="*/ 37 h 87"/>
                <a:gd name="T20" fmla="*/ 57 w 65"/>
                <a:gd name="T21" fmla="*/ 30 h 87"/>
                <a:gd name="T22" fmla="*/ 61 w 65"/>
                <a:gd name="T23" fmla="*/ 22 h 87"/>
                <a:gd name="T24" fmla="*/ 60 w 65"/>
                <a:gd name="T25" fmla="*/ 19 h 87"/>
                <a:gd name="T26" fmla="*/ 50 w 65"/>
                <a:gd name="T27" fmla="*/ 18 h 87"/>
                <a:gd name="T28" fmla="*/ 32 w 65"/>
                <a:gd name="T29" fmla="*/ 19 h 87"/>
                <a:gd name="T30" fmla="*/ 28 w 65"/>
                <a:gd name="T31" fmla="*/ 17 h 87"/>
                <a:gd name="T32" fmla="*/ 25 w 65"/>
                <a:gd name="T33" fmla="*/ 11 h 87"/>
                <a:gd name="T34" fmla="*/ 24 w 65"/>
                <a:gd name="T35" fmla="*/ 8 h 87"/>
                <a:gd name="T36" fmla="*/ 20 w 65"/>
                <a:gd name="T37" fmla="*/ 4 h 87"/>
                <a:gd name="T38" fmla="*/ 14 w 65"/>
                <a:gd name="T39" fmla="*/ 3 h 87"/>
                <a:gd name="T40" fmla="*/ 7 w 65"/>
                <a:gd name="T41" fmla="*/ 0 h 87"/>
                <a:gd name="T42" fmla="*/ 2 w 65"/>
                <a:gd name="T43" fmla="*/ 3 h 87"/>
                <a:gd name="T44" fmla="*/ 0 w 65"/>
                <a:gd name="T45" fmla="*/ 5 h 87"/>
                <a:gd name="T46" fmla="*/ 6 w 65"/>
                <a:gd name="T47" fmla="*/ 10 h 87"/>
                <a:gd name="T48" fmla="*/ 11 w 65"/>
                <a:gd name="T49" fmla="*/ 14 h 87"/>
                <a:gd name="T50" fmla="*/ 11 w 65"/>
                <a:gd name="T51" fmla="*/ 17 h 87"/>
                <a:gd name="T52" fmla="*/ 7 w 65"/>
                <a:gd name="T53" fmla="*/ 19 h 87"/>
                <a:gd name="T54" fmla="*/ 3 w 65"/>
                <a:gd name="T55" fmla="*/ 22 h 87"/>
                <a:gd name="T56" fmla="*/ 3 w 65"/>
                <a:gd name="T57" fmla="*/ 28 h 87"/>
                <a:gd name="T58" fmla="*/ 7 w 65"/>
                <a:gd name="T59" fmla="*/ 46 h 87"/>
                <a:gd name="T60" fmla="*/ 10 w 65"/>
                <a:gd name="T61" fmla="*/ 58 h 87"/>
                <a:gd name="T62" fmla="*/ 13 w 65"/>
                <a:gd name="T63" fmla="*/ 75 h 87"/>
                <a:gd name="T64" fmla="*/ 18 w 65"/>
                <a:gd name="T65" fmla="*/ 73 h 87"/>
                <a:gd name="T66" fmla="*/ 22 w 65"/>
                <a:gd name="T67" fmla="*/ 72 h 87"/>
                <a:gd name="T68" fmla="*/ 34 w 65"/>
                <a:gd name="T69" fmla="*/ 69 h 87"/>
                <a:gd name="T70" fmla="*/ 35 w 65"/>
                <a:gd name="T71" fmla="*/ 65 h 87"/>
                <a:gd name="T72" fmla="*/ 39 w 65"/>
                <a:gd name="T73" fmla="*/ 60 h 87"/>
                <a:gd name="T74" fmla="*/ 45 w 65"/>
                <a:gd name="T75" fmla="*/ 58 h 87"/>
                <a:gd name="T76" fmla="*/ 47 w 65"/>
                <a:gd name="T77" fmla="*/ 61 h 87"/>
                <a:gd name="T78" fmla="*/ 53 w 65"/>
                <a:gd name="T79" fmla="*/ 73 h 87"/>
                <a:gd name="T80" fmla="*/ 53 w 65"/>
                <a:gd name="T81" fmla="*/ 79 h 87"/>
                <a:gd name="T82" fmla="*/ 56 w 65"/>
                <a:gd name="T83" fmla="*/ 87 h 87"/>
                <a:gd name="T84" fmla="*/ 61 w 65"/>
                <a:gd name="T85" fmla="*/ 83 h 87"/>
                <a:gd name="T86" fmla="*/ 63 w 65"/>
                <a:gd name="T87" fmla="*/ 79 h 87"/>
                <a:gd name="T88" fmla="*/ 65 w 65"/>
                <a:gd name="T89" fmla="*/ 7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5" h="87">
                  <a:moveTo>
                    <a:pt x="65" y="72"/>
                  </a:moveTo>
                  <a:lnTo>
                    <a:pt x="65" y="72"/>
                  </a:lnTo>
                  <a:lnTo>
                    <a:pt x="63" y="51"/>
                  </a:lnTo>
                  <a:lnTo>
                    <a:pt x="61" y="44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57" y="44"/>
                  </a:lnTo>
                  <a:lnTo>
                    <a:pt x="54" y="48"/>
                  </a:lnTo>
                  <a:lnTo>
                    <a:pt x="52" y="53"/>
                  </a:lnTo>
                  <a:lnTo>
                    <a:pt x="50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6" y="54"/>
                  </a:lnTo>
                  <a:lnTo>
                    <a:pt x="46" y="51"/>
                  </a:lnTo>
                  <a:lnTo>
                    <a:pt x="45" y="46"/>
                  </a:lnTo>
                  <a:lnTo>
                    <a:pt x="46" y="40"/>
                  </a:lnTo>
                  <a:lnTo>
                    <a:pt x="47" y="39"/>
                  </a:lnTo>
                  <a:lnTo>
                    <a:pt x="49" y="37"/>
                  </a:lnTo>
                  <a:lnTo>
                    <a:pt x="49" y="37"/>
                  </a:lnTo>
                  <a:lnTo>
                    <a:pt x="52" y="37"/>
                  </a:lnTo>
                  <a:lnTo>
                    <a:pt x="53" y="36"/>
                  </a:lnTo>
                  <a:lnTo>
                    <a:pt x="57" y="30"/>
                  </a:lnTo>
                  <a:lnTo>
                    <a:pt x="60" y="26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60" y="19"/>
                  </a:lnTo>
                  <a:lnTo>
                    <a:pt x="59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28" y="17"/>
                  </a:lnTo>
                  <a:lnTo>
                    <a:pt x="27" y="14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4" y="8"/>
                  </a:lnTo>
                  <a:lnTo>
                    <a:pt x="22" y="5"/>
                  </a:lnTo>
                  <a:lnTo>
                    <a:pt x="20" y="4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0" y="1"/>
                  </a:lnTo>
                  <a:lnTo>
                    <a:pt x="7" y="0"/>
                  </a:lnTo>
                  <a:lnTo>
                    <a:pt x="4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7"/>
                  </a:lnTo>
                  <a:lnTo>
                    <a:pt x="6" y="10"/>
                  </a:lnTo>
                  <a:lnTo>
                    <a:pt x="10" y="12"/>
                  </a:lnTo>
                  <a:lnTo>
                    <a:pt x="11" y="14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0" y="19"/>
                  </a:lnTo>
                  <a:lnTo>
                    <a:pt x="7" y="19"/>
                  </a:lnTo>
                  <a:lnTo>
                    <a:pt x="4" y="21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8"/>
                  </a:lnTo>
                  <a:lnTo>
                    <a:pt x="4" y="33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10" y="58"/>
                  </a:lnTo>
                  <a:lnTo>
                    <a:pt x="11" y="66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8" y="73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31" y="71"/>
                  </a:lnTo>
                  <a:lnTo>
                    <a:pt x="34" y="69"/>
                  </a:lnTo>
                  <a:lnTo>
                    <a:pt x="35" y="65"/>
                  </a:lnTo>
                  <a:lnTo>
                    <a:pt x="35" y="65"/>
                  </a:lnTo>
                  <a:lnTo>
                    <a:pt x="36" y="62"/>
                  </a:lnTo>
                  <a:lnTo>
                    <a:pt x="39" y="60"/>
                  </a:lnTo>
                  <a:lnTo>
                    <a:pt x="42" y="58"/>
                  </a:lnTo>
                  <a:lnTo>
                    <a:pt x="45" y="58"/>
                  </a:lnTo>
                  <a:lnTo>
                    <a:pt x="45" y="58"/>
                  </a:lnTo>
                  <a:lnTo>
                    <a:pt x="47" y="61"/>
                  </a:lnTo>
                  <a:lnTo>
                    <a:pt x="50" y="66"/>
                  </a:lnTo>
                  <a:lnTo>
                    <a:pt x="53" y="73"/>
                  </a:lnTo>
                  <a:lnTo>
                    <a:pt x="53" y="79"/>
                  </a:lnTo>
                  <a:lnTo>
                    <a:pt x="53" y="79"/>
                  </a:lnTo>
                  <a:lnTo>
                    <a:pt x="54" y="83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3" y="79"/>
                  </a:lnTo>
                  <a:lnTo>
                    <a:pt x="65" y="72"/>
                  </a:lnTo>
                  <a:lnTo>
                    <a:pt x="65" y="7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23" name="Freeform 50"/>
            <p:cNvSpPr>
              <a:spLocks/>
            </p:cNvSpPr>
            <p:nvPr/>
          </p:nvSpPr>
          <p:spPr bwMode="auto">
            <a:xfrm>
              <a:off x="6289676" y="3063875"/>
              <a:ext cx="690563" cy="727075"/>
            </a:xfrm>
            <a:custGeom>
              <a:avLst/>
              <a:gdLst>
                <a:gd name="T0" fmla="*/ 314 w 435"/>
                <a:gd name="T1" fmla="*/ 180 h 458"/>
                <a:gd name="T2" fmla="*/ 306 w 435"/>
                <a:gd name="T3" fmla="*/ 164 h 458"/>
                <a:gd name="T4" fmla="*/ 329 w 435"/>
                <a:gd name="T5" fmla="*/ 172 h 458"/>
                <a:gd name="T6" fmla="*/ 364 w 435"/>
                <a:gd name="T7" fmla="*/ 180 h 458"/>
                <a:gd name="T8" fmla="*/ 351 w 435"/>
                <a:gd name="T9" fmla="*/ 200 h 458"/>
                <a:gd name="T10" fmla="*/ 358 w 435"/>
                <a:gd name="T11" fmla="*/ 209 h 458"/>
                <a:gd name="T12" fmla="*/ 372 w 435"/>
                <a:gd name="T13" fmla="*/ 232 h 458"/>
                <a:gd name="T14" fmla="*/ 379 w 435"/>
                <a:gd name="T15" fmla="*/ 201 h 458"/>
                <a:gd name="T16" fmla="*/ 394 w 435"/>
                <a:gd name="T17" fmla="*/ 191 h 458"/>
                <a:gd name="T18" fmla="*/ 403 w 435"/>
                <a:gd name="T19" fmla="*/ 158 h 458"/>
                <a:gd name="T20" fmla="*/ 428 w 435"/>
                <a:gd name="T21" fmla="*/ 146 h 458"/>
                <a:gd name="T22" fmla="*/ 431 w 435"/>
                <a:gd name="T23" fmla="*/ 133 h 458"/>
                <a:gd name="T24" fmla="*/ 425 w 435"/>
                <a:gd name="T25" fmla="*/ 121 h 458"/>
                <a:gd name="T26" fmla="*/ 408 w 435"/>
                <a:gd name="T27" fmla="*/ 112 h 458"/>
                <a:gd name="T28" fmla="*/ 379 w 435"/>
                <a:gd name="T29" fmla="*/ 121 h 458"/>
                <a:gd name="T30" fmla="*/ 357 w 435"/>
                <a:gd name="T31" fmla="*/ 137 h 458"/>
                <a:gd name="T32" fmla="*/ 343 w 435"/>
                <a:gd name="T33" fmla="*/ 153 h 458"/>
                <a:gd name="T34" fmla="*/ 321 w 435"/>
                <a:gd name="T35" fmla="*/ 150 h 458"/>
                <a:gd name="T36" fmla="*/ 313 w 435"/>
                <a:gd name="T37" fmla="*/ 132 h 458"/>
                <a:gd name="T38" fmla="*/ 303 w 435"/>
                <a:gd name="T39" fmla="*/ 147 h 458"/>
                <a:gd name="T40" fmla="*/ 270 w 435"/>
                <a:gd name="T41" fmla="*/ 154 h 458"/>
                <a:gd name="T42" fmla="*/ 238 w 435"/>
                <a:gd name="T43" fmla="*/ 141 h 458"/>
                <a:gd name="T44" fmla="*/ 207 w 435"/>
                <a:gd name="T45" fmla="*/ 130 h 458"/>
                <a:gd name="T46" fmla="*/ 189 w 435"/>
                <a:gd name="T47" fmla="*/ 119 h 458"/>
                <a:gd name="T48" fmla="*/ 195 w 435"/>
                <a:gd name="T49" fmla="*/ 97 h 458"/>
                <a:gd name="T50" fmla="*/ 179 w 435"/>
                <a:gd name="T51" fmla="*/ 80 h 458"/>
                <a:gd name="T52" fmla="*/ 163 w 435"/>
                <a:gd name="T53" fmla="*/ 61 h 458"/>
                <a:gd name="T54" fmla="*/ 172 w 435"/>
                <a:gd name="T55" fmla="*/ 53 h 458"/>
                <a:gd name="T56" fmla="*/ 167 w 435"/>
                <a:gd name="T57" fmla="*/ 25 h 458"/>
                <a:gd name="T58" fmla="*/ 154 w 435"/>
                <a:gd name="T59" fmla="*/ 4 h 458"/>
                <a:gd name="T60" fmla="*/ 129 w 435"/>
                <a:gd name="T61" fmla="*/ 14 h 458"/>
                <a:gd name="T62" fmla="*/ 93 w 435"/>
                <a:gd name="T63" fmla="*/ 14 h 458"/>
                <a:gd name="T64" fmla="*/ 95 w 435"/>
                <a:gd name="T65" fmla="*/ 44 h 458"/>
                <a:gd name="T66" fmla="*/ 108 w 435"/>
                <a:gd name="T67" fmla="*/ 58 h 458"/>
                <a:gd name="T68" fmla="*/ 97 w 435"/>
                <a:gd name="T69" fmla="*/ 82 h 458"/>
                <a:gd name="T70" fmla="*/ 86 w 435"/>
                <a:gd name="T71" fmla="*/ 96 h 458"/>
                <a:gd name="T72" fmla="*/ 63 w 435"/>
                <a:gd name="T73" fmla="*/ 121 h 458"/>
                <a:gd name="T74" fmla="*/ 45 w 435"/>
                <a:gd name="T75" fmla="*/ 133 h 458"/>
                <a:gd name="T76" fmla="*/ 24 w 435"/>
                <a:gd name="T77" fmla="*/ 140 h 458"/>
                <a:gd name="T78" fmla="*/ 29 w 435"/>
                <a:gd name="T79" fmla="*/ 159 h 458"/>
                <a:gd name="T80" fmla="*/ 42 w 435"/>
                <a:gd name="T81" fmla="*/ 190 h 458"/>
                <a:gd name="T82" fmla="*/ 15 w 435"/>
                <a:gd name="T83" fmla="*/ 194 h 458"/>
                <a:gd name="T84" fmla="*/ 14 w 435"/>
                <a:gd name="T85" fmla="*/ 218 h 458"/>
                <a:gd name="T86" fmla="*/ 31 w 435"/>
                <a:gd name="T87" fmla="*/ 221 h 458"/>
                <a:gd name="T88" fmla="*/ 38 w 435"/>
                <a:gd name="T89" fmla="*/ 252 h 458"/>
                <a:gd name="T90" fmla="*/ 60 w 435"/>
                <a:gd name="T91" fmla="*/ 237 h 458"/>
                <a:gd name="T92" fmla="*/ 68 w 435"/>
                <a:gd name="T93" fmla="*/ 246 h 458"/>
                <a:gd name="T94" fmla="*/ 71 w 435"/>
                <a:gd name="T95" fmla="*/ 286 h 458"/>
                <a:gd name="T96" fmla="*/ 97 w 435"/>
                <a:gd name="T97" fmla="*/ 366 h 458"/>
                <a:gd name="T98" fmla="*/ 124 w 435"/>
                <a:gd name="T99" fmla="*/ 433 h 458"/>
                <a:gd name="T100" fmla="*/ 153 w 435"/>
                <a:gd name="T101" fmla="*/ 447 h 458"/>
                <a:gd name="T102" fmla="*/ 171 w 435"/>
                <a:gd name="T103" fmla="*/ 423 h 458"/>
                <a:gd name="T104" fmla="*/ 182 w 435"/>
                <a:gd name="T105" fmla="*/ 391 h 458"/>
                <a:gd name="T106" fmla="*/ 186 w 435"/>
                <a:gd name="T107" fmla="*/ 345 h 458"/>
                <a:gd name="T108" fmla="*/ 207 w 435"/>
                <a:gd name="T109" fmla="*/ 322 h 458"/>
                <a:gd name="T110" fmla="*/ 256 w 435"/>
                <a:gd name="T111" fmla="*/ 277 h 458"/>
                <a:gd name="T112" fmla="*/ 285 w 435"/>
                <a:gd name="T113" fmla="*/ 246 h 458"/>
                <a:gd name="T114" fmla="*/ 315 w 435"/>
                <a:gd name="T115" fmla="*/ 227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5" h="458">
                  <a:moveTo>
                    <a:pt x="311" y="207"/>
                  </a:moveTo>
                  <a:lnTo>
                    <a:pt x="311" y="207"/>
                  </a:lnTo>
                  <a:lnTo>
                    <a:pt x="308" y="194"/>
                  </a:lnTo>
                  <a:lnTo>
                    <a:pt x="307" y="189"/>
                  </a:lnTo>
                  <a:lnTo>
                    <a:pt x="307" y="183"/>
                  </a:lnTo>
                  <a:lnTo>
                    <a:pt x="307" y="183"/>
                  </a:lnTo>
                  <a:lnTo>
                    <a:pt x="308" y="182"/>
                  </a:lnTo>
                  <a:lnTo>
                    <a:pt x="311" y="180"/>
                  </a:lnTo>
                  <a:lnTo>
                    <a:pt x="314" y="180"/>
                  </a:lnTo>
                  <a:lnTo>
                    <a:pt x="315" y="178"/>
                  </a:lnTo>
                  <a:lnTo>
                    <a:pt x="315" y="178"/>
                  </a:lnTo>
                  <a:lnTo>
                    <a:pt x="315" y="175"/>
                  </a:lnTo>
                  <a:lnTo>
                    <a:pt x="314" y="173"/>
                  </a:lnTo>
                  <a:lnTo>
                    <a:pt x="310" y="171"/>
                  </a:lnTo>
                  <a:lnTo>
                    <a:pt x="304" y="168"/>
                  </a:lnTo>
                  <a:lnTo>
                    <a:pt x="304" y="166"/>
                  </a:lnTo>
                  <a:lnTo>
                    <a:pt x="306" y="164"/>
                  </a:lnTo>
                  <a:lnTo>
                    <a:pt x="306" y="164"/>
                  </a:lnTo>
                  <a:lnTo>
                    <a:pt x="308" y="161"/>
                  </a:lnTo>
                  <a:lnTo>
                    <a:pt x="311" y="161"/>
                  </a:lnTo>
                  <a:lnTo>
                    <a:pt x="314" y="162"/>
                  </a:lnTo>
                  <a:lnTo>
                    <a:pt x="318" y="164"/>
                  </a:lnTo>
                  <a:lnTo>
                    <a:pt x="318" y="164"/>
                  </a:lnTo>
                  <a:lnTo>
                    <a:pt x="324" y="165"/>
                  </a:lnTo>
                  <a:lnTo>
                    <a:pt x="326" y="166"/>
                  </a:lnTo>
                  <a:lnTo>
                    <a:pt x="328" y="169"/>
                  </a:lnTo>
                  <a:lnTo>
                    <a:pt x="329" y="172"/>
                  </a:lnTo>
                  <a:lnTo>
                    <a:pt x="329" y="172"/>
                  </a:lnTo>
                  <a:lnTo>
                    <a:pt x="331" y="175"/>
                  </a:lnTo>
                  <a:lnTo>
                    <a:pt x="332" y="178"/>
                  </a:lnTo>
                  <a:lnTo>
                    <a:pt x="336" y="180"/>
                  </a:lnTo>
                  <a:lnTo>
                    <a:pt x="336" y="180"/>
                  </a:lnTo>
                  <a:lnTo>
                    <a:pt x="354" y="179"/>
                  </a:lnTo>
                  <a:lnTo>
                    <a:pt x="354" y="179"/>
                  </a:lnTo>
                  <a:lnTo>
                    <a:pt x="363" y="179"/>
                  </a:lnTo>
                  <a:lnTo>
                    <a:pt x="364" y="180"/>
                  </a:lnTo>
                  <a:lnTo>
                    <a:pt x="365" y="183"/>
                  </a:lnTo>
                  <a:lnTo>
                    <a:pt x="365" y="183"/>
                  </a:lnTo>
                  <a:lnTo>
                    <a:pt x="364" y="187"/>
                  </a:lnTo>
                  <a:lnTo>
                    <a:pt x="361" y="191"/>
                  </a:lnTo>
                  <a:lnTo>
                    <a:pt x="357" y="197"/>
                  </a:lnTo>
                  <a:lnTo>
                    <a:pt x="356" y="198"/>
                  </a:lnTo>
                  <a:lnTo>
                    <a:pt x="353" y="198"/>
                  </a:lnTo>
                  <a:lnTo>
                    <a:pt x="353" y="198"/>
                  </a:lnTo>
                  <a:lnTo>
                    <a:pt x="351" y="200"/>
                  </a:lnTo>
                  <a:lnTo>
                    <a:pt x="350" y="201"/>
                  </a:lnTo>
                  <a:lnTo>
                    <a:pt x="349" y="207"/>
                  </a:lnTo>
                  <a:lnTo>
                    <a:pt x="350" y="212"/>
                  </a:lnTo>
                  <a:lnTo>
                    <a:pt x="350" y="215"/>
                  </a:lnTo>
                  <a:lnTo>
                    <a:pt x="353" y="215"/>
                  </a:lnTo>
                  <a:lnTo>
                    <a:pt x="353" y="215"/>
                  </a:lnTo>
                  <a:lnTo>
                    <a:pt x="354" y="215"/>
                  </a:lnTo>
                  <a:lnTo>
                    <a:pt x="356" y="214"/>
                  </a:lnTo>
                  <a:lnTo>
                    <a:pt x="358" y="209"/>
                  </a:lnTo>
                  <a:lnTo>
                    <a:pt x="361" y="205"/>
                  </a:lnTo>
                  <a:lnTo>
                    <a:pt x="364" y="202"/>
                  </a:lnTo>
                  <a:lnTo>
                    <a:pt x="364" y="202"/>
                  </a:lnTo>
                  <a:lnTo>
                    <a:pt x="365" y="205"/>
                  </a:lnTo>
                  <a:lnTo>
                    <a:pt x="367" y="212"/>
                  </a:lnTo>
                  <a:lnTo>
                    <a:pt x="369" y="233"/>
                  </a:lnTo>
                  <a:lnTo>
                    <a:pt x="369" y="233"/>
                  </a:lnTo>
                  <a:lnTo>
                    <a:pt x="372" y="232"/>
                  </a:lnTo>
                  <a:lnTo>
                    <a:pt x="372" y="232"/>
                  </a:lnTo>
                  <a:lnTo>
                    <a:pt x="374" y="232"/>
                  </a:lnTo>
                  <a:lnTo>
                    <a:pt x="374" y="230"/>
                  </a:lnTo>
                  <a:lnTo>
                    <a:pt x="375" y="225"/>
                  </a:lnTo>
                  <a:lnTo>
                    <a:pt x="375" y="219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8" y="211"/>
                  </a:lnTo>
                  <a:lnTo>
                    <a:pt x="378" y="207"/>
                  </a:lnTo>
                  <a:lnTo>
                    <a:pt x="379" y="201"/>
                  </a:lnTo>
                  <a:lnTo>
                    <a:pt x="379" y="200"/>
                  </a:lnTo>
                  <a:lnTo>
                    <a:pt x="379" y="200"/>
                  </a:lnTo>
                  <a:lnTo>
                    <a:pt x="386" y="201"/>
                  </a:lnTo>
                  <a:lnTo>
                    <a:pt x="390" y="201"/>
                  </a:lnTo>
                  <a:lnTo>
                    <a:pt x="392" y="201"/>
                  </a:lnTo>
                  <a:lnTo>
                    <a:pt x="392" y="200"/>
                  </a:lnTo>
                  <a:lnTo>
                    <a:pt x="392" y="200"/>
                  </a:lnTo>
                  <a:lnTo>
                    <a:pt x="393" y="197"/>
                  </a:lnTo>
                  <a:lnTo>
                    <a:pt x="394" y="191"/>
                  </a:lnTo>
                  <a:lnTo>
                    <a:pt x="397" y="186"/>
                  </a:lnTo>
                  <a:lnTo>
                    <a:pt x="397" y="182"/>
                  </a:lnTo>
                  <a:lnTo>
                    <a:pt x="397" y="182"/>
                  </a:lnTo>
                  <a:lnTo>
                    <a:pt x="397" y="176"/>
                  </a:lnTo>
                  <a:lnTo>
                    <a:pt x="399" y="172"/>
                  </a:lnTo>
                  <a:lnTo>
                    <a:pt x="401" y="168"/>
                  </a:lnTo>
                  <a:lnTo>
                    <a:pt x="401" y="162"/>
                  </a:lnTo>
                  <a:lnTo>
                    <a:pt x="401" y="162"/>
                  </a:lnTo>
                  <a:lnTo>
                    <a:pt x="403" y="158"/>
                  </a:lnTo>
                  <a:lnTo>
                    <a:pt x="406" y="155"/>
                  </a:lnTo>
                  <a:lnTo>
                    <a:pt x="412" y="150"/>
                  </a:lnTo>
                  <a:lnTo>
                    <a:pt x="412" y="150"/>
                  </a:lnTo>
                  <a:lnTo>
                    <a:pt x="419" y="144"/>
                  </a:lnTo>
                  <a:lnTo>
                    <a:pt x="424" y="143"/>
                  </a:lnTo>
                  <a:lnTo>
                    <a:pt x="425" y="143"/>
                  </a:lnTo>
                  <a:lnTo>
                    <a:pt x="425" y="144"/>
                  </a:lnTo>
                  <a:lnTo>
                    <a:pt x="425" y="144"/>
                  </a:lnTo>
                  <a:lnTo>
                    <a:pt x="428" y="146"/>
                  </a:lnTo>
                  <a:lnTo>
                    <a:pt x="431" y="147"/>
                  </a:lnTo>
                  <a:lnTo>
                    <a:pt x="433" y="147"/>
                  </a:lnTo>
                  <a:lnTo>
                    <a:pt x="433" y="146"/>
                  </a:lnTo>
                  <a:lnTo>
                    <a:pt x="432" y="144"/>
                  </a:lnTo>
                  <a:lnTo>
                    <a:pt x="432" y="144"/>
                  </a:lnTo>
                  <a:lnTo>
                    <a:pt x="431" y="140"/>
                  </a:lnTo>
                  <a:lnTo>
                    <a:pt x="429" y="137"/>
                  </a:lnTo>
                  <a:lnTo>
                    <a:pt x="429" y="134"/>
                  </a:lnTo>
                  <a:lnTo>
                    <a:pt x="431" y="133"/>
                  </a:lnTo>
                  <a:lnTo>
                    <a:pt x="431" y="133"/>
                  </a:lnTo>
                  <a:lnTo>
                    <a:pt x="432" y="132"/>
                  </a:lnTo>
                  <a:lnTo>
                    <a:pt x="433" y="129"/>
                  </a:lnTo>
                  <a:lnTo>
                    <a:pt x="435" y="126"/>
                  </a:lnTo>
                  <a:lnTo>
                    <a:pt x="435" y="126"/>
                  </a:lnTo>
                  <a:lnTo>
                    <a:pt x="431" y="125"/>
                  </a:lnTo>
                  <a:lnTo>
                    <a:pt x="428" y="123"/>
                  </a:lnTo>
                  <a:lnTo>
                    <a:pt x="425" y="121"/>
                  </a:lnTo>
                  <a:lnTo>
                    <a:pt x="425" y="121"/>
                  </a:lnTo>
                  <a:lnTo>
                    <a:pt x="422" y="116"/>
                  </a:lnTo>
                  <a:lnTo>
                    <a:pt x="419" y="114"/>
                  </a:lnTo>
                  <a:lnTo>
                    <a:pt x="419" y="111"/>
                  </a:lnTo>
                  <a:lnTo>
                    <a:pt x="419" y="111"/>
                  </a:lnTo>
                  <a:lnTo>
                    <a:pt x="418" y="109"/>
                  </a:lnTo>
                  <a:lnTo>
                    <a:pt x="417" y="109"/>
                  </a:lnTo>
                  <a:lnTo>
                    <a:pt x="411" y="112"/>
                  </a:lnTo>
                  <a:lnTo>
                    <a:pt x="411" y="112"/>
                  </a:lnTo>
                  <a:lnTo>
                    <a:pt x="408" y="112"/>
                  </a:lnTo>
                  <a:lnTo>
                    <a:pt x="403" y="112"/>
                  </a:lnTo>
                  <a:lnTo>
                    <a:pt x="399" y="111"/>
                  </a:lnTo>
                  <a:lnTo>
                    <a:pt x="393" y="112"/>
                  </a:lnTo>
                  <a:lnTo>
                    <a:pt x="393" y="112"/>
                  </a:lnTo>
                  <a:lnTo>
                    <a:pt x="388" y="116"/>
                  </a:lnTo>
                  <a:lnTo>
                    <a:pt x="385" y="119"/>
                  </a:lnTo>
                  <a:lnTo>
                    <a:pt x="382" y="121"/>
                  </a:lnTo>
                  <a:lnTo>
                    <a:pt x="379" y="121"/>
                  </a:lnTo>
                  <a:lnTo>
                    <a:pt x="379" y="121"/>
                  </a:lnTo>
                  <a:lnTo>
                    <a:pt x="376" y="122"/>
                  </a:lnTo>
                  <a:lnTo>
                    <a:pt x="375" y="123"/>
                  </a:lnTo>
                  <a:lnTo>
                    <a:pt x="372" y="128"/>
                  </a:lnTo>
                  <a:lnTo>
                    <a:pt x="372" y="128"/>
                  </a:lnTo>
                  <a:lnTo>
                    <a:pt x="368" y="132"/>
                  </a:lnTo>
                  <a:lnTo>
                    <a:pt x="365" y="134"/>
                  </a:lnTo>
                  <a:lnTo>
                    <a:pt x="365" y="134"/>
                  </a:lnTo>
                  <a:lnTo>
                    <a:pt x="361" y="136"/>
                  </a:lnTo>
                  <a:lnTo>
                    <a:pt x="357" y="137"/>
                  </a:lnTo>
                  <a:lnTo>
                    <a:pt x="357" y="137"/>
                  </a:lnTo>
                  <a:lnTo>
                    <a:pt x="360" y="143"/>
                  </a:lnTo>
                  <a:lnTo>
                    <a:pt x="360" y="147"/>
                  </a:lnTo>
                  <a:lnTo>
                    <a:pt x="360" y="151"/>
                  </a:lnTo>
                  <a:lnTo>
                    <a:pt x="360" y="151"/>
                  </a:lnTo>
                  <a:lnTo>
                    <a:pt x="357" y="153"/>
                  </a:lnTo>
                  <a:lnTo>
                    <a:pt x="353" y="153"/>
                  </a:lnTo>
                  <a:lnTo>
                    <a:pt x="349" y="153"/>
                  </a:lnTo>
                  <a:lnTo>
                    <a:pt x="343" y="153"/>
                  </a:lnTo>
                  <a:lnTo>
                    <a:pt x="343" y="153"/>
                  </a:lnTo>
                  <a:lnTo>
                    <a:pt x="339" y="153"/>
                  </a:lnTo>
                  <a:lnTo>
                    <a:pt x="336" y="153"/>
                  </a:lnTo>
                  <a:lnTo>
                    <a:pt x="332" y="151"/>
                  </a:lnTo>
                  <a:lnTo>
                    <a:pt x="329" y="151"/>
                  </a:lnTo>
                  <a:lnTo>
                    <a:pt x="329" y="151"/>
                  </a:lnTo>
                  <a:lnTo>
                    <a:pt x="325" y="151"/>
                  </a:lnTo>
                  <a:lnTo>
                    <a:pt x="322" y="151"/>
                  </a:lnTo>
                  <a:lnTo>
                    <a:pt x="321" y="150"/>
                  </a:lnTo>
                  <a:lnTo>
                    <a:pt x="318" y="150"/>
                  </a:lnTo>
                  <a:lnTo>
                    <a:pt x="318" y="150"/>
                  </a:lnTo>
                  <a:lnTo>
                    <a:pt x="317" y="148"/>
                  </a:lnTo>
                  <a:lnTo>
                    <a:pt x="314" y="146"/>
                  </a:lnTo>
                  <a:lnTo>
                    <a:pt x="314" y="143"/>
                  </a:lnTo>
                  <a:lnTo>
                    <a:pt x="314" y="139"/>
                  </a:lnTo>
                  <a:lnTo>
                    <a:pt x="314" y="139"/>
                  </a:lnTo>
                  <a:lnTo>
                    <a:pt x="314" y="134"/>
                  </a:lnTo>
                  <a:lnTo>
                    <a:pt x="313" y="132"/>
                  </a:lnTo>
                  <a:lnTo>
                    <a:pt x="310" y="129"/>
                  </a:lnTo>
                  <a:lnTo>
                    <a:pt x="308" y="130"/>
                  </a:lnTo>
                  <a:lnTo>
                    <a:pt x="308" y="130"/>
                  </a:lnTo>
                  <a:lnTo>
                    <a:pt x="307" y="133"/>
                  </a:lnTo>
                  <a:lnTo>
                    <a:pt x="304" y="133"/>
                  </a:lnTo>
                  <a:lnTo>
                    <a:pt x="303" y="134"/>
                  </a:lnTo>
                  <a:lnTo>
                    <a:pt x="303" y="137"/>
                  </a:lnTo>
                  <a:lnTo>
                    <a:pt x="303" y="137"/>
                  </a:lnTo>
                  <a:lnTo>
                    <a:pt x="303" y="147"/>
                  </a:lnTo>
                  <a:lnTo>
                    <a:pt x="303" y="151"/>
                  </a:lnTo>
                  <a:lnTo>
                    <a:pt x="301" y="154"/>
                  </a:lnTo>
                  <a:lnTo>
                    <a:pt x="301" y="154"/>
                  </a:lnTo>
                  <a:lnTo>
                    <a:pt x="296" y="157"/>
                  </a:lnTo>
                  <a:lnTo>
                    <a:pt x="288" y="158"/>
                  </a:lnTo>
                  <a:lnTo>
                    <a:pt x="279" y="158"/>
                  </a:lnTo>
                  <a:lnTo>
                    <a:pt x="275" y="157"/>
                  </a:lnTo>
                  <a:lnTo>
                    <a:pt x="275" y="157"/>
                  </a:lnTo>
                  <a:lnTo>
                    <a:pt x="270" y="154"/>
                  </a:lnTo>
                  <a:lnTo>
                    <a:pt x="263" y="153"/>
                  </a:lnTo>
                  <a:lnTo>
                    <a:pt x="257" y="151"/>
                  </a:lnTo>
                  <a:lnTo>
                    <a:pt x="254" y="148"/>
                  </a:lnTo>
                  <a:lnTo>
                    <a:pt x="254" y="148"/>
                  </a:lnTo>
                  <a:lnTo>
                    <a:pt x="250" y="143"/>
                  </a:lnTo>
                  <a:lnTo>
                    <a:pt x="249" y="140"/>
                  </a:lnTo>
                  <a:lnTo>
                    <a:pt x="246" y="140"/>
                  </a:lnTo>
                  <a:lnTo>
                    <a:pt x="246" y="140"/>
                  </a:lnTo>
                  <a:lnTo>
                    <a:pt x="238" y="141"/>
                  </a:lnTo>
                  <a:lnTo>
                    <a:pt x="233" y="143"/>
                  </a:lnTo>
                  <a:lnTo>
                    <a:pt x="231" y="143"/>
                  </a:lnTo>
                  <a:lnTo>
                    <a:pt x="231" y="143"/>
                  </a:lnTo>
                  <a:lnTo>
                    <a:pt x="225" y="139"/>
                  </a:lnTo>
                  <a:lnTo>
                    <a:pt x="221" y="136"/>
                  </a:lnTo>
                  <a:lnTo>
                    <a:pt x="218" y="134"/>
                  </a:lnTo>
                  <a:lnTo>
                    <a:pt x="218" y="134"/>
                  </a:lnTo>
                  <a:lnTo>
                    <a:pt x="210" y="133"/>
                  </a:lnTo>
                  <a:lnTo>
                    <a:pt x="207" y="130"/>
                  </a:lnTo>
                  <a:lnTo>
                    <a:pt x="206" y="129"/>
                  </a:lnTo>
                  <a:lnTo>
                    <a:pt x="206" y="129"/>
                  </a:lnTo>
                  <a:lnTo>
                    <a:pt x="204" y="128"/>
                  </a:lnTo>
                  <a:lnTo>
                    <a:pt x="200" y="126"/>
                  </a:lnTo>
                  <a:lnTo>
                    <a:pt x="196" y="125"/>
                  </a:lnTo>
                  <a:lnTo>
                    <a:pt x="193" y="122"/>
                  </a:lnTo>
                  <a:lnTo>
                    <a:pt x="193" y="122"/>
                  </a:lnTo>
                  <a:lnTo>
                    <a:pt x="192" y="121"/>
                  </a:lnTo>
                  <a:lnTo>
                    <a:pt x="189" y="119"/>
                  </a:lnTo>
                  <a:lnTo>
                    <a:pt x="186" y="118"/>
                  </a:lnTo>
                  <a:lnTo>
                    <a:pt x="185" y="116"/>
                  </a:lnTo>
                  <a:lnTo>
                    <a:pt x="185" y="116"/>
                  </a:lnTo>
                  <a:lnTo>
                    <a:pt x="186" y="111"/>
                  </a:lnTo>
                  <a:lnTo>
                    <a:pt x="188" y="104"/>
                  </a:lnTo>
                  <a:lnTo>
                    <a:pt x="188" y="104"/>
                  </a:lnTo>
                  <a:lnTo>
                    <a:pt x="189" y="101"/>
                  </a:lnTo>
                  <a:lnTo>
                    <a:pt x="192" y="100"/>
                  </a:lnTo>
                  <a:lnTo>
                    <a:pt x="195" y="97"/>
                  </a:lnTo>
                  <a:lnTo>
                    <a:pt x="196" y="94"/>
                  </a:lnTo>
                  <a:lnTo>
                    <a:pt x="196" y="94"/>
                  </a:lnTo>
                  <a:lnTo>
                    <a:pt x="195" y="93"/>
                  </a:lnTo>
                  <a:lnTo>
                    <a:pt x="192" y="90"/>
                  </a:lnTo>
                  <a:lnTo>
                    <a:pt x="189" y="87"/>
                  </a:lnTo>
                  <a:lnTo>
                    <a:pt x="189" y="87"/>
                  </a:lnTo>
                  <a:lnTo>
                    <a:pt x="186" y="84"/>
                  </a:lnTo>
                  <a:lnTo>
                    <a:pt x="183" y="82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76" y="79"/>
                  </a:lnTo>
                  <a:lnTo>
                    <a:pt x="172" y="75"/>
                  </a:lnTo>
                  <a:lnTo>
                    <a:pt x="170" y="72"/>
                  </a:lnTo>
                  <a:lnTo>
                    <a:pt x="167" y="71"/>
                  </a:lnTo>
                  <a:lnTo>
                    <a:pt x="167" y="71"/>
                  </a:lnTo>
                  <a:lnTo>
                    <a:pt x="164" y="69"/>
                  </a:lnTo>
                  <a:lnTo>
                    <a:pt x="163" y="65"/>
                  </a:lnTo>
                  <a:lnTo>
                    <a:pt x="163" y="61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0" y="55"/>
                  </a:lnTo>
                  <a:lnTo>
                    <a:pt x="160" y="53"/>
                  </a:lnTo>
                  <a:lnTo>
                    <a:pt x="161" y="51"/>
                  </a:lnTo>
                  <a:lnTo>
                    <a:pt x="164" y="51"/>
                  </a:lnTo>
                  <a:lnTo>
                    <a:pt x="164" y="51"/>
                  </a:lnTo>
                  <a:lnTo>
                    <a:pt x="168" y="53"/>
                  </a:lnTo>
                  <a:lnTo>
                    <a:pt x="172" y="53"/>
                  </a:lnTo>
                  <a:lnTo>
                    <a:pt x="174" y="50"/>
                  </a:lnTo>
                  <a:lnTo>
                    <a:pt x="175" y="48"/>
                  </a:lnTo>
                  <a:lnTo>
                    <a:pt x="174" y="46"/>
                  </a:lnTo>
                  <a:lnTo>
                    <a:pt x="174" y="46"/>
                  </a:lnTo>
                  <a:lnTo>
                    <a:pt x="168" y="39"/>
                  </a:lnTo>
                  <a:lnTo>
                    <a:pt x="165" y="35"/>
                  </a:lnTo>
                  <a:lnTo>
                    <a:pt x="165" y="32"/>
                  </a:lnTo>
                  <a:lnTo>
                    <a:pt x="165" y="32"/>
                  </a:lnTo>
                  <a:lnTo>
                    <a:pt x="167" y="25"/>
                  </a:lnTo>
                  <a:lnTo>
                    <a:pt x="167" y="21"/>
                  </a:lnTo>
                  <a:lnTo>
                    <a:pt x="165" y="19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58" y="12"/>
                  </a:lnTo>
                  <a:lnTo>
                    <a:pt x="157" y="10"/>
                  </a:lnTo>
                  <a:lnTo>
                    <a:pt x="156" y="7"/>
                  </a:lnTo>
                  <a:lnTo>
                    <a:pt x="156" y="7"/>
                  </a:lnTo>
                  <a:lnTo>
                    <a:pt x="154" y="4"/>
                  </a:lnTo>
                  <a:lnTo>
                    <a:pt x="151" y="1"/>
                  </a:lnTo>
                  <a:lnTo>
                    <a:pt x="149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40" y="5"/>
                  </a:lnTo>
                  <a:lnTo>
                    <a:pt x="139" y="10"/>
                  </a:lnTo>
                  <a:lnTo>
                    <a:pt x="136" y="11"/>
                  </a:lnTo>
                  <a:lnTo>
                    <a:pt x="136" y="11"/>
                  </a:lnTo>
                  <a:lnTo>
                    <a:pt x="129" y="14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0" y="18"/>
                  </a:lnTo>
                  <a:lnTo>
                    <a:pt x="117" y="18"/>
                  </a:lnTo>
                  <a:lnTo>
                    <a:pt x="110" y="16"/>
                  </a:lnTo>
                  <a:lnTo>
                    <a:pt x="104" y="14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3" y="14"/>
                  </a:lnTo>
                  <a:lnTo>
                    <a:pt x="90" y="16"/>
                  </a:lnTo>
                  <a:lnTo>
                    <a:pt x="89" y="19"/>
                  </a:lnTo>
                  <a:lnTo>
                    <a:pt x="89" y="22"/>
                  </a:lnTo>
                  <a:lnTo>
                    <a:pt x="89" y="22"/>
                  </a:lnTo>
                  <a:lnTo>
                    <a:pt x="92" y="25"/>
                  </a:lnTo>
                  <a:lnTo>
                    <a:pt x="92" y="30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5" y="44"/>
                  </a:lnTo>
                  <a:lnTo>
                    <a:pt x="97" y="50"/>
                  </a:lnTo>
                  <a:lnTo>
                    <a:pt x="100" y="51"/>
                  </a:lnTo>
                  <a:lnTo>
                    <a:pt x="102" y="51"/>
                  </a:lnTo>
                  <a:lnTo>
                    <a:pt x="102" y="51"/>
                  </a:lnTo>
                  <a:lnTo>
                    <a:pt x="106" y="51"/>
                  </a:lnTo>
                  <a:lnTo>
                    <a:pt x="108" y="54"/>
                  </a:lnTo>
                  <a:lnTo>
                    <a:pt x="111" y="57"/>
                  </a:lnTo>
                  <a:lnTo>
                    <a:pt x="110" y="58"/>
                  </a:lnTo>
                  <a:lnTo>
                    <a:pt x="108" y="58"/>
                  </a:lnTo>
                  <a:lnTo>
                    <a:pt x="108" y="58"/>
                  </a:lnTo>
                  <a:lnTo>
                    <a:pt x="106" y="60"/>
                  </a:lnTo>
                  <a:lnTo>
                    <a:pt x="103" y="62"/>
                  </a:lnTo>
                  <a:lnTo>
                    <a:pt x="102" y="66"/>
                  </a:lnTo>
                  <a:lnTo>
                    <a:pt x="102" y="71"/>
                  </a:lnTo>
                  <a:lnTo>
                    <a:pt x="102" y="71"/>
                  </a:lnTo>
                  <a:lnTo>
                    <a:pt x="100" y="78"/>
                  </a:lnTo>
                  <a:lnTo>
                    <a:pt x="100" y="80"/>
                  </a:lnTo>
                  <a:lnTo>
                    <a:pt x="97" y="82"/>
                  </a:lnTo>
                  <a:lnTo>
                    <a:pt x="97" y="82"/>
                  </a:lnTo>
                  <a:lnTo>
                    <a:pt x="95" y="82"/>
                  </a:lnTo>
                  <a:lnTo>
                    <a:pt x="93" y="83"/>
                  </a:lnTo>
                  <a:lnTo>
                    <a:pt x="90" y="86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0" y="93"/>
                  </a:lnTo>
                  <a:lnTo>
                    <a:pt x="89" y="94"/>
                  </a:lnTo>
                  <a:lnTo>
                    <a:pt x="86" y="96"/>
                  </a:lnTo>
                  <a:lnTo>
                    <a:pt x="83" y="97"/>
                  </a:lnTo>
                  <a:lnTo>
                    <a:pt x="81" y="98"/>
                  </a:lnTo>
                  <a:lnTo>
                    <a:pt x="81" y="98"/>
                  </a:lnTo>
                  <a:lnTo>
                    <a:pt x="78" y="107"/>
                  </a:lnTo>
                  <a:lnTo>
                    <a:pt x="75" y="115"/>
                  </a:lnTo>
                  <a:lnTo>
                    <a:pt x="75" y="115"/>
                  </a:lnTo>
                  <a:lnTo>
                    <a:pt x="68" y="116"/>
                  </a:lnTo>
                  <a:lnTo>
                    <a:pt x="64" y="119"/>
                  </a:lnTo>
                  <a:lnTo>
                    <a:pt x="63" y="121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6"/>
                  </a:lnTo>
                  <a:lnTo>
                    <a:pt x="58" y="130"/>
                  </a:lnTo>
                  <a:lnTo>
                    <a:pt x="56" y="133"/>
                  </a:lnTo>
                  <a:lnTo>
                    <a:pt x="53" y="134"/>
                  </a:lnTo>
                  <a:lnTo>
                    <a:pt x="53" y="134"/>
                  </a:lnTo>
                  <a:lnTo>
                    <a:pt x="47" y="133"/>
                  </a:lnTo>
                  <a:lnTo>
                    <a:pt x="45" y="133"/>
                  </a:lnTo>
                  <a:lnTo>
                    <a:pt x="43" y="134"/>
                  </a:lnTo>
                  <a:lnTo>
                    <a:pt x="43" y="134"/>
                  </a:lnTo>
                  <a:lnTo>
                    <a:pt x="42" y="136"/>
                  </a:lnTo>
                  <a:lnTo>
                    <a:pt x="40" y="136"/>
                  </a:lnTo>
                  <a:lnTo>
                    <a:pt x="36" y="134"/>
                  </a:lnTo>
                  <a:lnTo>
                    <a:pt x="33" y="133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24" y="140"/>
                  </a:lnTo>
                  <a:lnTo>
                    <a:pt x="21" y="144"/>
                  </a:lnTo>
                  <a:lnTo>
                    <a:pt x="20" y="148"/>
                  </a:lnTo>
                  <a:lnTo>
                    <a:pt x="20" y="148"/>
                  </a:lnTo>
                  <a:lnTo>
                    <a:pt x="20" y="150"/>
                  </a:lnTo>
                  <a:lnTo>
                    <a:pt x="21" y="151"/>
                  </a:lnTo>
                  <a:lnTo>
                    <a:pt x="24" y="154"/>
                  </a:lnTo>
                  <a:lnTo>
                    <a:pt x="28" y="155"/>
                  </a:lnTo>
                  <a:lnTo>
                    <a:pt x="29" y="158"/>
                  </a:lnTo>
                  <a:lnTo>
                    <a:pt x="29" y="159"/>
                  </a:lnTo>
                  <a:lnTo>
                    <a:pt x="29" y="159"/>
                  </a:lnTo>
                  <a:lnTo>
                    <a:pt x="29" y="164"/>
                  </a:lnTo>
                  <a:lnTo>
                    <a:pt x="31" y="169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40" y="183"/>
                  </a:lnTo>
                  <a:lnTo>
                    <a:pt x="42" y="186"/>
                  </a:lnTo>
                  <a:lnTo>
                    <a:pt x="42" y="190"/>
                  </a:lnTo>
                  <a:lnTo>
                    <a:pt x="42" y="190"/>
                  </a:lnTo>
                  <a:lnTo>
                    <a:pt x="39" y="191"/>
                  </a:lnTo>
                  <a:lnTo>
                    <a:pt x="36" y="193"/>
                  </a:lnTo>
                  <a:lnTo>
                    <a:pt x="29" y="193"/>
                  </a:lnTo>
                  <a:lnTo>
                    <a:pt x="29" y="193"/>
                  </a:lnTo>
                  <a:lnTo>
                    <a:pt x="27" y="193"/>
                  </a:lnTo>
                  <a:lnTo>
                    <a:pt x="24" y="193"/>
                  </a:lnTo>
                  <a:lnTo>
                    <a:pt x="21" y="194"/>
                  </a:lnTo>
                  <a:lnTo>
                    <a:pt x="15" y="194"/>
                  </a:lnTo>
                  <a:lnTo>
                    <a:pt x="15" y="194"/>
                  </a:lnTo>
                  <a:lnTo>
                    <a:pt x="8" y="194"/>
                  </a:lnTo>
                  <a:lnTo>
                    <a:pt x="6" y="196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6" y="211"/>
                  </a:lnTo>
                  <a:lnTo>
                    <a:pt x="10" y="215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7" y="219"/>
                  </a:lnTo>
                  <a:lnTo>
                    <a:pt x="21" y="219"/>
                  </a:lnTo>
                  <a:lnTo>
                    <a:pt x="27" y="218"/>
                  </a:lnTo>
                  <a:lnTo>
                    <a:pt x="29" y="216"/>
                  </a:lnTo>
                  <a:lnTo>
                    <a:pt x="31" y="216"/>
                  </a:lnTo>
                  <a:lnTo>
                    <a:pt x="31" y="219"/>
                  </a:lnTo>
                  <a:lnTo>
                    <a:pt x="31" y="219"/>
                  </a:lnTo>
                  <a:lnTo>
                    <a:pt x="31" y="221"/>
                  </a:lnTo>
                  <a:lnTo>
                    <a:pt x="28" y="222"/>
                  </a:lnTo>
                  <a:lnTo>
                    <a:pt x="21" y="225"/>
                  </a:lnTo>
                  <a:lnTo>
                    <a:pt x="13" y="225"/>
                  </a:lnTo>
                  <a:lnTo>
                    <a:pt x="10" y="226"/>
                  </a:lnTo>
                  <a:lnTo>
                    <a:pt x="10" y="226"/>
                  </a:lnTo>
                  <a:lnTo>
                    <a:pt x="13" y="232"/>
                  </a:lnTo>
                  <a:lnTo>
                    <a:pt x="22" y="241"/>
                  </a:lnTo>
                  <a:lnTo>
                    <a:pt x="32" y="250"/>
                  </a:lnTo>
                  <a:lnTo>
                    <a:pt x="38" y="252"/>
                  </a:lnTo>
                  <a:lnTo>
                    <a:pt x="43" y="254"/>
                  </a:lnTo>
                  <a:lnTo>
                    <a:pt x="43" y="254"/>
                  </a:lnTo>
                  <a:lnTo>
                    <a:pt x="47" y="252"/>
                  </a:lnTo>
                  <a:lnTo>
                    <a:pt x="50" y="250"/>
                  </a:lnTo>
                  <a:lnTo>
                    <a:pt x="57" y="246"/>
                  </a:lnTo>
                  <a:lnTo>
                    <a:pt x="60" y="240"/>
                  </a:lnTo>
                  <a:lnTo>
                    <a:pt x="60" y="239"/>
                  </a:lnTo>
                  <a:lnTo>
                    <a:pt x="60" y="237"/>
                  </a:lnTo>
                  <a:lnTo>
                    <a:pt x="60" y="237"/>
                  </a:lnTo>
                  <a:lnTo>
                    <a:pt x="58" y="234"/>
                  </a:lnTo>
                  <a:lnTo>
                    <a:pt x="60" y="232"/>
                  </a:lnTo>
                  <a:lnTo>
                    <a:pt x="61" y="229"/>
                  </a:lnTo>
                  <a:lnTo>
                    <a:pt x="64" y="229"/>
                  </a:lnTo>
                  <a:lnTo>
                    <a:pt x="64" y="229"/>
                  </a:lnTo>
                  <a:lnTo>
                    <a:pt x="65" y="232"/>
                  </a:lnTo>
                  <a:lnTo>
                    <a:pt x="65" y="237"/>
                  </a:lnTo>
                  <a:lnTo>
                    <a:pt x="67" y="241"/>
                  </a:lnTo>
                  <a:lnTo>
                    <a:pt x="68" y="246"/>
                  </a:lnTo>
                  <a:lnTo>
                    <a:pt x="68" y="246"/>
                  </a:lnTo>
                  <a:lnTo>
                    <a:pt x="70" y="248"/>
                  </a:lnTo>
                  <a:lnTo>
                    <a:pt x="70" y="251"/>
                  </a:lnTo>
                  <a:lnTo>
                    <a:pt x="68" y="259"/>
                  </a:lnTo>
                  <a:lnTo>
                    <a:pt x="68" y="259"/>
                  </a:lnTo>
                  <a:lnTo>
                    <a:pt x="67" y="265"/>
                  </a:lnTo>
                  <a:lnTo>
                    <a:pt x="68" y="272"/>
                  </a:lnTo>
                  <a:lnTo>
                    <a:pt x="71" y="286"/>
                  </a:lnTo>
                  <a:lnTo>
                    <a:pt x="71" y="286"/>
                  </a:lnTo>
                  <a:lnTo>
                    <a:pt x="74" y="298"/>
                  </a:lnTo>
                  <a:lnTo>
                    <a:pt x="78" y="314"/>
                  </a:lnTo>
                  <a:lnTo>
                    <a:pt x="78" y="314"/>
                  </a:lnTo>
                  <a:lnTo>
                    <a:pt x="81" y="323"/>
                  </a:lnTo>
                  <a:lnTo>
                    <a:pt x="83" y="334"/>
                  </a:lnTo>
                  <a:lnTo>
                    <a:pt x="88" y="345"/>
                  </a:lnTo>
                  <a:lnTo>
                    <a:pt x="93" y="357"/>
                  </a:lnTo>
                  <a:lnTo>
                    <a:pt x="93" y="357"/>
                  </a:lnTo>
                  <a:lnTo>
                    <a:pt x="97" y="366"/>
                  </a:lnTo>
                  <a:lnTo>
                    <a:pt x="102" y="379"/>
                  </a:lnTo>
                  <a:lnTo>
                    <a:pt x="104" y="390"/>
                  </a:lnTo>
                  <a:lnTo>
                    <a:pt x="108" y="397"/>
                  </a:lnTo>
                  <a:lnTo>
                    <a:pt x="108" y="397"/>
                  </a:lnTo>
                  <a:lnTo>
                    <a:pt x="117" y="411"/>
                  </a:lnTo>
                  <a:lnTo>
                    <a:pt x="121" y="420"/>
                  </a:lnTo>
                  <a:lnTo>
                    <a:pt x="122" y="429"/>
                  </a:lnTo>
                  <a:lnTo>
                    <a:pt x="122" y="429"/>
                  </a:lnTo>
                  <a:lnTo>
                    <a:pt x="124" y="433"/>
                  </a:lnTo>
                  <a:lnTo>
                    <a:pt x="125" y="437"/>
                  </a:lnTo>
                  <a:lnTo>
                    <a:pt x="129" y="445"/>
                  </a:lnTo>
                  <a:lnTo>
                    <a:pt x="133" y="452"/>
                  </a:lnTo>
                  <a:lnTo>
                    <a:pt x="138" y="457"/>
                  </a:lnTo>
                  <a:lnTo>
                    <a:pt x="138" y="457"/>
                  </a:lnTo>
                  <a:lnTo>
                    <a:pt x="142" y="458"/>
                  </a:lnTo>
                  <a:lnTo>
                    <a:pt x="146" y="455"/>
                  </a:lnTo>
                  <a:lnTo>
                    <a:pt x="150" y="452"/>
                  </a:lnTo>
                  <a:lnTo>
                    <a:pt x="153" y="447"/>
                  </a:lnTo>
                  <a:lnTo>
                    <a:pt x="153" y="447"/>
                  </a:lnTo>
                  <a:lnTo>
                    <a:pt x="156" y="443"/>
                  </a:lnTo>
                  <a:lnTo>
                    <a:pt x="161" y="440"/>
                  </a:lnTo>
                  <a:lnTo>
                    <a:pt x="165" y="437"/>
                  </a:lnTo>
                  <a:lnTo>
                    <a:pt x="167" y="434"/>
                  </a:lnTo>
                  <a:lnTo>
                    <a:pt x="167" y="433"/>
                  </a:lnTo>
                  <a:lnTo>
                    <a:pt x="167" y="433"/>
                  </a:lnTo>
                  <a:lnTo>
                    <a:pt x="170" y="426"/>
                  </a:lnTo>
                  <a:lnTo>
                    <a:pt x="171" y="423"/>
                  </a:lnTo>
                  <a:lnTo>
                    <a:pt x="174" y="422"/>
                  </a:lnTo>
                  <a:lnTo>
                    <a:pt x="174" y="422"/>
                  </a:lnTo>
                  <a:lnTo>
                    <a:pt x="175" y="420"/>
                  </a:lnTo>
                  <a:lnTo>
                    <a:pt x="176" y="419"/>
                  </a:lnTo>
                  <a:lnTo>
                    <a:pt x="178" y="411"/>
                  </a:lnTo>
                  <a:lnTo>
                    <a:pt x="178" y="411"/>
                  </a:lnTo>
                  <a:lnTo>
                    <a:pt x="178" y="401"/>
                  </a:lnTo>
                  <a:lnTo>
                    <a:pt x="179" y="395"/>
                  </a:lnTo>
                  <a:lnTo>
                    <a:pt x="182" y="391"/>
                  </a:lnTo>
                  <a:lnTo>
                    <a:pt x="182" y="391"/>
                  </a:lnTo>
                  <a:lnTo>
                    <a:pt x="185" y="386"/>
                  </a:lnTo>
                  <a:lnTo>
                    <a:pt x="186" y="379"/>
                  </a:lnTo>
                  <a:lnTo>
                    <a:pt x="186" y="372"/>
                  </a:lnTo>
                  <a:lnTo>
                    <a:pt x="185" y="366"/>
                  </a:lnTo>
                  <a:lnTo>
                    <a:pt x="185" y="366"/>
                  </a:lnTo>
                  <a:lnTo>
                    <a:pt x="183" y="361"/>
                  </a:lnTo>
                  <a:lnTo>
                    <a:pt x="183" y="355"/>
                  </a:lnTo>
                  <a:lnTo>
                    <a:pt x="186" y="345"/>
                  </a:lnTo>
                  <a:lnTo>
                    <a:pt x="186" y="345"/>
                  </a:lnTo>
                  <a:lnTo>
                    <a:pt x="188" y="337"/>
                  </a:lnTo>
                  <a:lnTo>
                    <a:pt x="189" y="334"/>
                  </a:lnTo>
                  <a:lnTo>
                    <a:pt x="192" y="333"/>
                  </a:lnTo>
                  <a:lnTo>
                    <a:pt x="192" y="333"/>
                  </a:lnTo>
                  <a:lnTo>
                    <a:pt x="195" y="332"/>
                  </a:lnTo>
                  <a:lnTo>
                    <a:pt x="199" y="330"/>
                  </a:lnTo>
                  <a:lnTo>
                    <a:pt x="203" y="326"/>
                  </a:lnTo>
                  <a:lnTo>
                    <a:pt x="207" y="322"/>
                  </a:lnTo>
                  <a:lnTo>
                    <a:pt x="207" y="322"/>
                  </a:lnTo>
                  <a:lnTo>
                    <a:pt x="211" y="318"/>
                  </a:lnTo>
                  <a:lnTo>
                    <a:pt x="218" y="312"/>
                  </a:lnTo>
                  <a:lnTo>
                    <a:pt x="231" y="304"/>
                  </a:lnTo>
                  <a:lnTo>
                    <a:pt x="231" y="304"/>
                  </a:lnTo>
                  <a:lnTo>
                    <a:pt x="243" y="291"/>
                  </a:lnTo>
                  <a:lnTo>
                    <a:pt x="250" y="284"/>
                  </a:lnTo>
                  <a:lnTo>
                    <a:pt x="256" y="277"/>
                  </a:lnTo>
                  <a:lnTo>
                    <a:pt x="256" y="277"/>
                  </a:lnTo>
                  <a:lnTo>
                    <a:pt x="261" y="273"/>
                  </a:lnTo>
                  <a:lnTo>
                    <a:pt x="267" y="269"/>
                  </a:lnTo>
                  <a:lnTo>
                    <a:pt x="274" y="266"/>
                  </a:lnTo>
                  <a:lnTo>
                    <a:pt x="279" y="262"/>
                  </a:lnTo>
                  <a:lnTo>
                    <a:pt x="279" y="262"/>
                  </a:lnTo>
                  <a:lnTo>
                    <a:pt x="283" y="258"/>
                  </a:lnTo>
                  <a:lnTo>
                    <a:pt x="283" y="254"/>
                  </a:lnTo>
                  <a:lnTo>
                    <a:pt x="285" y="246"/>
                  </a:lnTo>
                  <a:lnTo>
                    <a:pt x="285" y="246"/>
                  </a:lnTo>
                  <a:lnTo>
                    <a:pt x="286" y="243"/>
                  </a:lnTo>
                  <a:lnTo>
                    <a:pt x="289" y="241"/>
                  </a:lnTo>
                  <a:lnTo>
                    <a:pt x="296" y="239"/>
                  </a:lnTo>
                  <a:lnTo>
                    <a:pt x="306" y="236"/>
                  </a:lnTo>
                  <a:lnTo>
                    <a:pt x="313" y="236"/>
                  </a:lnTo>
                  <a:lnTo>
                    <a:pt x="313" y="236"/>
                  </a:lnTo>
                  <a:lnTo>
                    <a:pt x="317" y="236"/>
                  </a:lnTo>
                  <a:lnTo>
                    <a:pt x="317" y="236"/>
                  </a:lnTo>
                  <a:lnTo>
                    <a:pt x="315" y="227"/>
                  </a:lnTo>
                  <a:lnTo>
                    <a:pt x="314" y="219"/>
                  </a:lnTo>
                  <a:lnTo>
                    <a:pt x="311" y="207"/>
                  </a:lnTo>
                  <a:lnTo>
                    <a:pt x="311" y="20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24" name="Freeform 51"/>
            <p:cNvSpPr>
              <a:spLocks/>
            </p:cNvSpPr>
            <p:nvPr/>
          </p:nvSpPr>
          <p:spPr bwMode="auto">
            <a:xfrm>
              <a:off x="6767513" y="2554288"/>
              <a:ext cx="779463" cy="333375"/>
            </a:xfrm>
            <a:custGeom>
              <a:avLst/>
              <a:gdLst>
                <a:gd name="T0" fmla="*/ 456 w 491"/>
                <a:gd name="T1" fmla="*/ 90 h 210"/>
                <a:gd name="T2" fmla="*/ 441 w 491"/>
                <a:gd name="T3" fmla="*/ 88 h 210"/>
                <a:gd name="T4" fmla="*/ 425 w 491"/>
                <a:gd name="T5" fmla="*/ 88 h 210"/>
                <a:gd name="T6" fmla="*/ 441 w 491"/>
                <a:gd name="T7" fmla="*/ 46 h 210"/>
                <a:gd name="T8" fmla="*/ 417 w 491"/>
                <a:gd name="T9" fmla="*/ 45 h 210"/>
                <a:gd name="T10" fmla="*/ 396 w 491"/>
                <a:gd name="T11" fmla="*/ 42 h 210"/>
                <a:gd name="T12" fmla="*/ 382 w 491"/>
                <a:gd name="T13" fmla="*/ 52 h 210"/>
                <a:gd name="T14" fmla="*/ 360 w 491"/>
                <a:gd name="T15" fmla="*/ 57 h 210"/>
                <a:gd name="T16" fmla="*/ 334 w 491"/>
                <a:gd name="T17" fmla="*/ 60 h 210"/>
                <a:gd name="T18" fmla="*/ 311 w 491"/>
                <a:gd name="T19" fmla="*/ 57 h 210"/>
                <a:gd name="T20" fmla="*/ 302 w 491"/>
                <a:gd name="T21" fmla="*/ 47 h 210"/>
                <a:gd name="T22" fmla="*/ 289 w 491"/>
                <a:gd name="T23" fmla="*/ 40 h 210"/>
                <a:gd name="T24" fmla="*/ 274 w 491"/>
                <a:gd name="T25" fmla="*/ 38 h 210"/>
                <a:gd name="T26" fmla="*/ 248 w 491"/>
                <a:gd name="T27" fmla="*/ 36 h 210"/>
                <a:gd name="T28" fmla="*/ 230 w 491"/>
                <a:gd name="T29" fmla="*/ 39 h 210"/>
                <a:gd name="T30" fmla="*/ 213 w 491"/>
                <a:gd name="T31" fmla="*/ 31 h 210"/>
                <a:gd name="T32" fmla="*/ 211 w 491"/>
                <a:gd name="T33" fmla="*/ 17 h 210"/>
                <a:gd name="T34" fmla="*/ 185 w 491"/>
                <a:gd name="T35" fmla="*/ 7 h 210"/>
                <a:gd name="T36" fmla="*/ 163 w 491"/>
                <a:gd name="T37" fmla="*/ 0 h 210"/>
                <a:gd name="T38" fmla="*/ 153 w 491"/>
                <a:gd name="T39" fmla="*/ 8 h 210"/>
                <a:gd name="T40" fmla="*/ 143 w 491"/>
                <a:gd name="T41" fmla="*/ 17 h 210"/>
                <a:gd name="T42" fmla="*/ 149 w 491"/>
                <a:gd name="T43" fmla="*/ 33 h 210"/>
                <a:gd name="T44" fmla="*/ 138 w 491"/>
                <a:gd name="T45" fmla="*/ 46 h 210"/>
                <a:gd name="T46" fmla="*/ 124 w 491"/>
                <a:gd name="T47" fmla="*/ 45 h 210"/>
                <a:gd name="T48" fmla="*/ 105 w 491"/>
                <a:gd name="T49" fmla="*/ 43 h 210"/>
                <a:gd name="T50" fmla="*/ 93 w 491"/>
                <a:gd name="T51" fmla="*/ 32 h 210"/>
                <a:gd name="T52" fmla="*/ 62 w 491"/>
                <a:gd name="T53" fmla="*/ 28 h 210"/>
                <a:gd name="T54" fmla="*/ 50 w 491"/>
                <a:gd name="T55" fmla="*/ 35 h 210"/>
                <a:gd name="T56" fmla="*/ 37 w 491"/>
                <a:gd name="T57" fmla="*/ 43 h 210"/>
                <a:gd name="T58" fmla="*/ 21 w 491"/>
                <a:gd name="T59" fmla="*/ 53 h 210"/>
                <a:gd name="T60" fmla="*/ 3 w 491"/>
                <a:gd name="T61" fmla="*/ 58 h 210"/>
                <a:gd name="T62" fmla="*/ 2 w 491"/>
                <a:gd name="T63" fmla="*/ 68 h 210"/>
                <a:gd name="T64" fmla="*/ 25 w 491"/>
                <a:gd name="T65" fmla="*/ 83 h 210"/>
                <a:gd name="T66" fmla="*/ 39 w 491"/>
                <a:gd name="T67" fmla="*/ 95 h 210"/>
                <a:gd name="T68" fmla="*/ 48 w 491"/>
                <a:gd name="T69" fmla="*/ 113 h 210"/>
                <a:gd name="T70" fmla="*/ 43 w 491"/>
                <a:gd name="T71" fmla="*/ 135 h 210"/>
                <a:gd name="T72" fmla="*/ 78 w 491"/>
                <a:gd name="T73" fmla="*/ 143 h 210"/>
                <a:gd name="T74" fmla="*/ 89 w 491"/>
                <a:gd name="T75" fmla="*/ 150 h 210"/>
                <a:gd name="T76" fmla="*/ 103 w 491"/>
                <a:gd name="T77" fmla="*/ 158 h 210"/>
                <a:gd name="T78" fmla="*/ 117 w 491"/>
                <a:gd name="T79" fmla="*/ 181 h 210"/>
                <a:gd name="T80" fmla="*/ 128 w 491"/>
                <a:gd name="T81" fmla="*/ 189 h 210"/>
                <a:gd name="T82" fmla="*/ 192 w 491"/>
                <a:gd name="T83" fmla="*/ 192 h 210"/>
                <a:gd name="T84" fmla="*/ 220 w 491"/>
                <a:gd name="T85" fmla="*/ 199 h 210"/>
                <a:gd name="T86" fmla="*/ 241 w 491"/>
                <a:gd name="T87" fmla="*/ 204 h 210"/>
                <a:gd name="T88" fmla="*/ 257 w 491"/>
                <a:gd name="T89" fmla="*/ 210 h 210"/>
                <a:gd name="T90" fmla="*/ 289 w 491"/>
                <a:gd name="T91" fmla="*/ 193 h 210"/>
                <a:gd name="T92" fmla="*/ 336 w 491"/>
                <a:gd name="T93" fmla="*/ 189 h 210"/>
                <a:gd name="T94" fmla="*/ 361 w 491"/>
                <a:gd name="T95" fmla="*/ 171 h 210"/>
                <a:gd name="T96" fmla="*/ 357 w 491"/>
                <a:gd name="T97" fmla="*/ 151 h 210"/>
                <a:gd name="T98" fmla="*/ 373 w 491"/>
                <a:gd name="T99" fmla="*/ 146 h 210"/>
                <a:gd name="T100" fmla="*/ 399 w 491"/>
                <a:gd name="T101" fmla="*/ 143 h 210"/>
                <a:gd name="T102" fmla="*/ 429 w 491"/>
                <a:gd name="T103" fmla="*/ 132 h 210"/>
                <a:gd name="T104" fmla="*/ 450 w 491"/>
                <a:gd name="T105" fmla="*/ 115 h 210"/>
                <a:gd name="T106" fmla="*/ 475 w 491"/>
                <a:gd name="T107" fmla="*/ 111 h 210"/>
                <a:gd name="T108" fmla="*/ 491 w 491"/>
                <a:gd name="T109" fmla="*/ 110 h 210"/>
                <a:gd name="T110" fmla="*/ 471 w 491"/>
                <a:gd name="T111" fmla="*/ 88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1" h="210">
                  <a:moveTo>
                    <a:pt x="471" y="88"/>
                  </a:moveTo>
                  <a:lnTo>
                    <a:pt x="471" y="88"/>
                  </a:lnTo>
                  <a:lnTo>
                    <a:pt x="467" y="85"/>
                  </a:lnTo>
                  <a:lnTo>
                    <a:pt x="463" y="85"/>
                  </a:lnTo>
                  <a:lnTo>
                    <a:pt x="459" y="86"/>
                  </a:lnTo>
                  <a:lnTo>
                    <a:pt x="456" y="90"/>
                  </a:lnTo>
                  <a:lnTo>
                    <a:pt x="456" y="90"/>
                  </a:lnTo>
                  <a:lnTo>
                    <a:pt x="454" y="92"/>
                  </a:lnTo>
                  <a:lnTo>
                    <a:pt x="454" y="92"/>
                  </a:lnTo>
                  <a:lnTo>
                    <a:pt x="450" y="90"/>
                  </a:lnTo>
                  <a:lnTo>
                    <a:pt x="446" y="89"/>
                  </a:lnTo>
                  <a:lnTo>
                    <a:pt x="441" y="88"/>
                  </a:lnTo>
                  <a:lnTo>
                    <a:pt x="441" y="88"/>
                  </a:lnTo>
                  <a:lnTo>
                    <a:pt x="435" y="89"/>
                  </a:lnTo>
                  <a:lnTo>
                    <a:pt x="431" y="90"/>
                  </a:lnTo>
                  <a:lnTo>
                    <a:pt x="428" y="90"/>
                  </a:lnTo>
                  <a:lnTo>
                    <a:pt x="425" y="88"/>
                  </a:lnTo>
                  <a:lnTo>
                    <a:pt x="425" y="88"/>
                  </a:lnTo>
                  <a:lnTo>
                    <a:pt x="422" y="83"/>
                  </a:lnTo>
                  <a:lnTo>
                    <a:pt x="424" y="81"/>
                  </a:lnTo>
                  <a:lnTo>
                    <a:pt x="427" y="79"/>
                  </a:lnTo>
                  <a:lnTo>
                    <a:pt x="428" y="71"/>
                  </a:lnTo>
                  <a:lnTo>
                    <a:pt x="441" y="46"/>
                  </a:lnTo>
                  <a:lnTo>
                    <a:pt x="441" y="46"/>
                  </a:lnTo>
                  <a:lnTo>
                    <a:pt x="434" y="45"/>
                  </a:lnTo>
                  <a:lnTo>
                    <a:pt x="429" y="45"/>
                  </a:lnTo>
                  <a:lnTo>
                    <a:pt x="429" y="45"/>
                  </a:lnTo>
                  <a:lnTo>
                    <a:pt x="425" y="46"/>
                  </a:lnTo>
                  <a:lnTo>
                    <a:pt x="421" y="45"/>
                  </a:lnTo>
                  <a:lnTo>
                    <a:pt x="417" y="45"/>
                  </a:lnTo>
                  <a:lnTo>
                    <a:pt x="416" y="42"/>
                  </a:lnTo>
                  <a:lnTo>
                    <a:pt x="416" y="42"/>
                  </a:lnTo>
                  <a:lnTo>
                    <a:pt x="413" y="40"/>
                  </a:lnTo>
                  <a:lnTo>
                    <a:pt x="407" y="39"/>
                  </a:lnTo>
                  <a:lnTo>
                    <a:pt x="400" y="39"/>
                  </a:lnTo>
                  <a:lnTo>
                    <a:pt x="396" y="42"/>
                  </a:lnTo>
                  <a:lnTo>
                    <a:pt x="396" y="42"/>
                  </a:lnTo>
                  <a:lnTo>
                    <a:pt x="389" y="45"/>
                  </a:lnTo>
                  <a:lnTo>
                    <a:pt x="385" y="47"/>
                  </a:lnTo>
                  <a:lnTo>
                    <a:pt x="384" y="50"/>
                  </a:lnTo>
                  <a:lnTo>
                    <a:pt x="384" y="50"/>
                  </a:lnTo>
                  <a:lnTo>
                    <a:pt x="382" y="52"/>
                  </a:lnTo>
                  <a:lnTo>
                    <a:pt x="378" y="52"/>
                  </a:lnTo>
                  <a:lnTo>
                    <a:pt x="374" y="53"/>
                  </a:lnTo>
                  <a:lnTo>
                    <a:pt x="371" y="54"/>
                  </a:lnTo>
                  <a:lnTo>
                    <a:pt x="371" y="54"/>
                  </a:lnTo>
                  <a:lnTo>
                    <a:pt x="367" y="56"/>
                  </a:lnTo>
                  <a:lnTo>
                    <a:pt x="360" y="57"/>
                  </a:lnTo>
                  <a:lnTo>
                    <a:pt x="353" y="58"/>
                  </a:lnTo>
                  <a:lnTo>
                    <a:pt x="350" y="60"/>
                  </a:lnTo>
                  <a:lnTo>
                    <a:pt x="350" y="60"/>
                  </a:lnTo>
                  <a:lnTo>
                    <a:pt x="348" y="60"/>
                  </a:lnTo>
                  <a:lnTo>
                    <a:pt x="341" y="61"/>
                  </a:lnTo>
                  <a:lnTo>
                    <a:pt x="334" y="60"/>
                  </a:lnTo>
                  <a:lnTo>
                    <a:pt x="329" y="60"/>
                  </a:lnTo>
                  <a:lnTo>
                    <a:pt x="329" y="60"/>
                  </a:lnTo>
                  <a:lnTo>
                    <a:pt x="325" y="58"/>
                  </a:lnTo>
                  <a:lnTo>
                    <a:pt x="320" y="58"/>
                  </a:lnTo>
                  <a:lnTo>
                    <a:pt x="313" y="57"/>
                  </a:lnTo>
                  <a:lnTo>
                    <a:pt x="311" y="57"/>
                  </a:lnTo>
                  <a:lnTo>
                    <a:pt x="310" y="56"/>
                  </a:lnTo>
                  <a:lnTo>
                    <a:pt x="310" y="56"/>
                  </a:lnTo>
                  <a:lnTo>
                    <a:pt x="307" y="53"/>
                  </a:lnTo>
                  <a:lnTo>
                    <a:pt x="304" y="52"/>
                  </a:lnTo>
                  <a:lnTo>
                    <a:pt x="303" y="49"/>
                  </a:lnTo>
                  <a:lnTo>
                    <a:pt x="302" y="47"/>
                  </a:lnTo>
                  <a:lnTo>
                    <a:pt x="302" y="47"/>
                  </a:lnTo>
                  <a:lnTo>
                    <a:pt x="302" y="46"/>
                  </a:lnTo>
                  <a:lnTo>
                    <a:pt x="300" y="45"/>
                  </a:lnTo>
                  <a:lnTo>
                    <a:pt x="296" y="43"/>
                  </a:lnTo>
                  <a:lnTo>
                    <a:pt x="291" y="42"/>
                  </a:lnTo>
                  <a:lnTo>
                    <a:pt x="289" y="40"/>
                  </a:lnTo>
                  <a:lnTo>
                    <a:pt x="289" y="40"/>
                  </a:lnTo>
                  <a:lnTo>
                    <a:pt x="286" y="39"/>
                  </a:lnTo>
                  <a:lnTo>
                    <a:pt x="282" y="38"/>
                  </a:lnTo>
                  <a:lnTo>
                    <a:pt x="277" y="38"/>
                  </a:lnTo>
                  <a:lnTo>
                    <a:pt x="277" y="38"/>
                  </a:lnTo>
                  <a:lnTo>
                    <a:pt x="274" y="38"/>
                  </a:lnTo>
                  <a:lnTo>
                    <a:pt x="270" y="36"/>
                  </a:lnTo>
                  <a:lnTo>
                    <a:pt x="263" y="35"/>
                  </a:lnTo>
                  <a:lnTo>
                    <a:pt x="263" y="35"/>
                  </a:lnTo>
                  <a:lnTo>
                    <a:pt x="254" y="35"/>
                  </a:lnTo>
                  <a:lnTo>
                    <a:pt x="248" y="36"/>
                  </a:lnTo>
                  <a:lnTo>
                    <a:pt x="248" y="36"/>
                  </a:lnTo>
                  <a:lnTo>
                    <a:pt x="245" y="36"/>
                  </a:lnTo>
                  <a:lnTo>
                    <a:pt x="242" y="39"/>
                  </a:lnTo>
                  <a:lnTo>
                    <a:pt x="236" y="42"/>
                  </a:lnTo>
                  <a:lnTo>
                    <a:pt x="236" y="42"/>
                  </a:lnTo>
                  <a:lnTo>
                    <a:pt x="234" y="40"/>
                  </a:lnTo>
                  <a:lnTo>
                    <a:pt x="230" y="39"/>
                  </a:lnTo>
                  <a:lnTo>
                    <a:pt x="225" y="38"/>
                  </a:lnTo>
                  <a:lnTo>
                    <a:pt x="223" y="38"/>
                  </a:lnTo>
                  <a:lnTo>
                    <a:pt x="223" y="38"/>
                  </a:lnTo>
                  <a:lnTo>
                    <a:pt x="221" y="38"/>
                  </a:lnTo>
                  <a:lnTo>
                    <a:pt x="218" y="35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1" y="27"/>
                  </a:lnTo>
                  <a:lnTo>
                    <a:pt x="211" y="24"/>
                  </a:lnTo>
                  <a:lnTo>
                    <a:pt x="211" y="20"/>
                  </a:lnTo>
                  <a:lnTo>
                    <a:pt x="211" y="17"/>
                  </a:lnTo>
                  <a:lnTo>
                    <a:pt x="211" y="17"/>
                  </a:lnTo>
                  <a:lnTo>
                    <a:pt x="209" y="15"/>
                  </a:lnTo>
                  <a:lnTo>
                    <a:pt x="205" y="14"/>
                  </a:lnTo>
                  <a:lnTo>
                    <a:pt x="196" y="13"/>
                  </a:lnTo>
                  <a:lnTo>
                    <a:pt x="196" y="13"/>
                  </a:lnTo>
                  <a:lnTo>
                    <a:pt x="191" y="8"/>
                  </a:lnTo>
                  <a:lnTo>
                    <a:pt x="185" y="7"/>
                  </a:lnTo>
                  <a:lnTo>
                    <a:pt x="185" y="7"/>
                  </a:lnTo>
                  <a:lnTo>
                    <a:pt x="180" y="7"/>
                  </a:lnTo>
                  <a:lnTo>
                    <a:pt x="175" y="6"/>
                  </a:lnTo>
                  <a:lnTo>
                    <a:pt x="175" y="6"/>
                  </a:lnTo>
                  <a:lnTo>
                    <a:pt x="170" y="3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61" y="0"/>
                  </a:lnTo>
                  <a:lnTo>
                    <a:pt x="160" y="2"/>
                  </a:lnTo>
                  <a:lnTo>
                    <a:pt x="157" y="6"/>
                  </a:lnTo>
                  <a:lnTo>
                    <a:pt x="157" y="6"/>
                  </a:lnTo>
                  <a:lnTo>
                    <a:pt x="153" y="8"/>
                  </a:lnTo>
                  <a:lnTo>
                    <a:pt x="150" y="8"/>
                  </a:lnTo>
                  <a:lnTo>
                    <a:pt x="149" y="11"/>
                  </a:lnTo>
                  <a:lnTo>
                    <a:pt x="149" y="11"/>
                  </a:lnTo>
                  <a:lnTo>
                    <a:pt x="148" y="13"/>
                  </a:lnTo>
                  <a:lnTo>
                    <a:pt x="145" y="15"/>
                  </a:lnTo>
                  <a:lnTo>
                    <a:pt x="143" y="17"/>
                  </a:lnTo>
                  <a:lnTo>
                    <a:pt x="143" y="20"/>
                  </a:lnTo>
                  <a:lnTo>
                    <a:pt x="143" y="20"/>
                  </a:lnTo>
                  <a:lnTo>
                    <a:pt x="145" y="27"/>
                  </a:lnTo>
                  <a:lnTo>
                    <a:pt x="149" y="32"/>
                  </a:lnTo>
                  <a:lnTo>
                    <a:pt x="149" y="32"/>
                  </a:lnTo>
                  <a:lnTo>
                    <a:pt x="149" y="33"/>
                  </a:lnTo>
                  <a:lnTo>
                    <a:pt x="149" y="36"/>
                  </a:lnTo>
                  <a:lnTo>
                    <a:pt x="148" y="42"/>
                  </a:lnTo>
                  <a:lnTo>
                    <a:pt x="148" y="42"/>
                  </a:lnTo>
                  <a:lnTo>
                    <a:pt x="146" y="43"/>
                  </a:lnTo>
                  <a:lnTo>
                    <a:pt x="142" y="45"/>
                  </a:lnTo>
                  <a:lnTo>
                    <a:pt x="138" y="46"/>
                  </a:lnTo>
                  <a:lnTo>
                    <a:pt x="135" y="47"/>
                  </a:lnTo>
                  <a:lnTo>
                    <a:pt x="135" y="47"/>
                  </a:lnTo>
                  <a:lnTo>
                    <a:pt x="134" y="49"/>
                  </a:lnTo>
                  <a:lnTo>
                    <a:pt x="131" y="49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0" y="43"/>
                  </a:lnTo>
                  <a:lnTo>
                    <a:pt x="117" y="43"/>
                  </a:lnTo>
                  <a:lnTo>
                    <a:pt x="111" y="46"/>
                  </a:lnTo>
                  <a:lnTo>
                    <a:pt x="111" y="46"/>
                  </a:lnTo>
                  <a:lnTo>
                    <a:pt x="109" y="46"/>
                  </a:lnTo>
                  <a:lnTo>
                    <a:pt x="105" y="43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98" y="39"/>
                  </a:lnTo>
                  <a:lnTo>
                    <a:pt x="96" y="35"/>
                  </a:lnTo>
                  <a:lnTo>
                    <a:pt x="95" y="32"/>
                  </a:lnTo>
                  <a:lnTo>
                    <a:pt x="93" y="32"/>
                  </a:lnTo>
                  <a:lnTo>
                    <a:pt x="93" y="32"/>
                  </a:lnTo>
                  <a:lnTo>
                    <a:pt x="82" y="31"/>
                  </a:lnTo>
                  <a:lnTo>
                    <a:pt x="71" y="28"/>
                  </a:lnTo>
                  <a:lnTo>
                    <a:pt x="71" y="28"/>
                  </a:lnTo>
                  <a:lnTo>
                    <a:pt x="66" y="28"/>
                  </a:lnTo>
                  <a:lnTo>
                    <a:pt x="62" y="28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59" y="31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50" y="35"/>
                  </a:lnTo>
                  <a:lnTo>
                    <a:pt x="50" y="35"/>
                  </a:lnTo>
                  <a:lnTo>
                    <a:pt x="48" y="36"/>
                  </a:lnTo>
                  <a:lnTo>
                    <a:pt x="45" y="38"/>
                  </a:lnTo>
                  <a:lnTo>
                    <a:pt x="39" y="42"/>
                  </a:lnTo>
                  <a:lnTo>
                    <a:pt x="39" y="42"/>
                  </a:lnTo>
                  <a:lnTo>
                    <a:pt x="37" y="43"/>
                  </a:lnTo>
                  <a:lnTo>
                    <a:pt x="34" y="45"/>
                  </a:lnTo>
                  <a:lnTo>
                    <a:pt x="30" y="46"/>
                  </a:lnTo>
                  <a:lnTo>
                    <a:pt x="28" y="49"/>
                  </a:lnTo>
                  <a:lnTo>
                    <a:pt x="28" y="49"/>
                  </a:lnTo>
                  <a:lnTo>
                    <a:pt x="25" y="50"/>
                  </a:lnTo>
                  <a:lnTo>
                    <a:pt x="21" y="53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7" y="56"/>
                  </a:lnTo>
                  <a:lnTo>
                    <a:pt x="5" y="57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2" y="68"/>
                  </a:lnTo>
                  <a:lnTo>
                    <a:pt x="5" y="71"/>
                  </a:lnTo>
                  <a:lnTo>
                    <a:pt x="12" y="77"/>
                  </a:lnTo>
                  <a:lnTo>
                    <a:pt x="12" y="77"/>
                  </a:lnTo>
                  <a:lnTo>
                    <a:pt x="18" y="81"/>
                  </a:lnTo>
                  <a:lnTo>
                    <a:pt x="21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30" y="85"/>
                  </a:lnTo>
                  <a:lnTo>
                    <a:pt x="34" y="88"/>
                  </a:lnTo>
                  <a:lnTo>
                    <a:pt x="38" y="90"/>
                  </a:lnTo>
                  <a:lnTo>
                    <a:pt x="39" y="95"/>
                  </a:lnTo>
                  <a:lnTo>
                    <a:pt x="39" y="95"/>
                  </a:lnTo>
                  <a:lnTo>
                    <a:pt x="41" y="97"/>
                  </a:lnTo>
                  <a:lnTo>
                    <a:pt x="42" y="102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9" y="108"/>
                  </a:lnTo>
                  <a:lnTo>
                    <a:pt x="48" y="113"/>
                  </a:lnTo>
                  <a:lnTo>
                    <a:pt x="46" y="122"/>
                  </a:lnTo>
                  <a:lnTo>
                    <a:pt x="46" y="122"/>
                  </a:lnTo>
                  <a:lnTo>
                    <a:pt x="45" y="125"/>
                  </a:lnTo>
                  <a:lnTo>
                    <a:pt x="43" y="128"/>
                  </a:lnTo>
                  <a:lnTo>
                    <a:pt x="42" y="131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5" y="138"/>
                  </a:lnTo>
                  <a:lnTo>
                    <a:pt x="49" y="139"/>
                  </a:lnTo>
                  <a:lnTo>
                    <a:pt x="59" y="142"/>
                  </a:lnTo>
                  <a:lnTo>
                    <a:pt x="70" y="143"/>
                  </a:lnTo>
                  <a:lnTo>
                    <a:pt x="78" y="143"/>
                  </a:lnTo>
                  <a:lnTo>
                    <a:pt x="78" y="143"/>
                  </a:lnTo>
                  <a:lnTo>
                    <a:pt x="82" y="145"/>
                  </a:lnTo>
                  <a:lnTo>
                    <a:pt x="87" y="147"/>
                  </a:lnTo>
                  <a:lnTo>
                    <a:pt x="88" y="150"/>
                  </a:lnTo>
                  <a:lnTo>
                    <a:pt x="89" y="150"/>
                  </a:lnTo>
                  <a:lnTo>
                    <a:pt x="89" y="150"/>
                  </a:lnTo>
                  <a:lnTo>
                    <a:pt x="92" y="151"/>
                  </a:lnTo>
                  <a:lnTo>
                    <a:pt x="95" y="154"/>
                  </a:lnTo>
                  <a:lnTo>
                    <a:pt x="96" y="156"/>
                  </a:lnTo>
                  <a:lnTo>
                    <a:pt x="100" y="157"/>
                  </a:lnTo>
                  <a:lnTo>
                    <a:pt x="100" y="157"/>
                  </a:lnTo>
                  <a:lnTo>
                    <a:pt x="103" y="158"/>
                  </a:lnTo>
                  <a:lnTo>
                    <a:pt x="107" y="161"/>
                  </a:lnTo>
                  <a:lnTo>
                    <a:pt x="110" y="165"/>
                  </a:lnTo>
                  <a:lnTo>
                    <a:pt x="111" y="171"/>
                  </a:lnTo>
                  <a:lnTo>
                    <a:pt x="111" y="171"/>
                  </a:lnTo>
                  <a:lnTo>
                    <a:pt x="114" y="176"/>
                  </a:lnTo>
                  <a:lnTo>
                    <a:pt x="117" y="181"/>
                  </a:lnTo>
                  <a:lnTo>
                    <a:pt x="120" y="183"/>
                  </a:lnTo>
                  <a:lnTo>
                    <a:pt x="121" y="188"/>
                  </a:lnTo>
                  <a:lnTo>
                    <a:pt x="121" y="188"/>
                  </a:lnTo>
                  <a:lnTo>
                    <a:pt x="123" y="188"/>
                  </a:lnTo>
                  <a:lnTo>
                    <a:pt x="124" y="189"/>
                  </a:lnTo>
                  <a:lnTo>
                    <a:pt x="128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60" y="189"/>
                  </a:lnTo>
                  <a:lnTo>
                    <a:pt x="178" y="190"/>
                  </a:lnTo>
                  <a:lnTo>
                    <a:pt x="178" y="190"/>
                  </a:lnTo>
                  <a:lnTo>
                    <a:pt x="192" y="192"/>
                  </a:lnTo>
                  <a:lnTo>
                    <a:pt x="200" y="193"/>
                  </a:lnTo>
                  <a:lnTo>
                    <a:pt x="207" y="196"/>
                  </a:lnTo>
                  <a:lnTo>
                    <a:pt x="207" y="196"/>
                  </a:lnTo>
                  <a:lnTo>
                    <a:pt x="213" y="199"/>
                  </a:lnTo>
                  <a:lnTo>
                    <a:pt x="217" y="199"/>
                  </a:lnTo>
                  <a:lnTo>
                    <a:pt x="220" y="199"/>
                  </a:lnTo>
                  <a:lnTo>
                    <a:pt x="224" y="200"/>
                  </a:lnTo>
                  <a:lnTo>
                    <a:pt x="224" y="200"/>
                  </a:lnTo>
                  <a:lnTo>
                    <a:pt x="231" y="204"/>
                  </a:lnTo>
                  <a:lnTo>
                    <a:pt x="235" y="204"/>
                  </a:lnTo>
                  <a:lnTo>
                    <a:pt x="241" y="204"/>
                  </a:lnTo>
                  <a:lnTo>
                    <a:pt x="241" y="204"/>
                  </a:lnTo>
                  <a:lnTo>
                    <a:pt x="245" y="204"/>
                  </a:lnTo>
                  <a:lnTo>
                    <a:pt x="248" y="207"/>
                  </a:lnTo>
                  <a:lnTo>
                    <a:pt x="249" y="208"/>
                  </a:lnTo>
                  <a:lnTo>
                    <a:pt x="252" y="210"/>
                  </a:lnTo>
                  <a:lnTo>
                    <a:pt x="252" y="210"/>
                  </a:lnTo>
                  <a:lnTo>
                    <a:pt x="257" y="210"/>
                  </a:lnTo>
                  <a:lnTo>
                    <a:pt x="263" y="206"/>
                  </a:lnTo>
                  <a:lnTo>
                    <a:pt x="270" y="201"/>
                  </a:lnTo>
                  <a:lnTo>
                    <a:pt x="279" y="196"/>
                  </a:lnTo>
                  <a:lnTo>
                    <a:pt x="279" y="196"/>
                  </a:lnTo>
                  <a:lnTo>
                    <a:pt x="285" y="195"/>
                  </a:lnTo>
                  <a:lnTo>
                    <a:pt x="289" y="193"/>
                  </a:lnTo>
                  <a:lnTo>
                    <a:pt x="299" y="193"/>
                  </a:lnTo>
                  <a:lnTo>
                    <a:pt x="314" y="195"/>
                  </a:lnTo>
                  <a:lnTo>
                    <a:pt x="314" y="195"/>
                  </a:lnTo>
                  <a:lnTo>
                    <a:pt x="321" y="195"/>
                  </a:lnTo>
                  <a:lnTo>
                    <a:pt x="328" y="193"/>
                  </a:lnTo>
                  <a:lnTo>
                    <a:pt x="336" y="189"/>
                  </a:lnTo>
                  <a:lnTo>
                    <a:pt x="343" y="183"/>
                  </a:lnTo>
                  <a:lnTo>
                    <a:pt x="343" y="183"/>
                  </a:lnTo>
                  <a:lnTo>
                    <a:pt x="349" y="178"/>
                  </a:lnTo>
                  <a:lnTo>
                    <a:pt x="354" y="175"/>
                  </a:lnTo>
                  <a:lnTo>
                    <a:pt x="360" y="172"/>
                  </a:lnTo>
                  <a:lnTo>
                    <a:pt x="361" y="171"/>
                  </a:lnTo>
                  <a:lnTo>
                    <a:pt x="361" y="168"/>
                  </a:lnTo>
                  <a:lnTo>
                    <a:pt x="361" y="168"/>
                  </a:lnTo>
                  <a:lnTo>
                    <a:pt x="361" y="163"/>
                  </a:lnTo>
                  <a:lnTo>
                    <a:pt x="359" y="158"/>
                  </a:lnTo>
                  <a:lnTo>
                    <a:pt x="357" y="154"/>
                  </a:lnTo>
                  <a:lnTo>
                    <a:pt x="357" y="151"/>
                  </a:lnTo>
                  <a:lnTo>
                    <a:pt x="359" y="150"/>
                  </a:lnTo>
                  <a:lnTo>
                    <a:pt x="359" y="150"/>
                  </a:lnTo>
                  <a:lnTo>
                    <a:pt x="361" y="146"/>
                  </a:lnTo>
                  <a:lnTo>
                    <a:pt x="366" y="145"/>
                  </a:lnTo>
                  <a:lnTo>
                    <a:pt x="370" y="145"/>
                  </a:lnTo>
                  <a:lnTo>
                    <a:pt x="373" y="146"/>
                  </a:lnTo>
                  <a:lnTo>
                    <a:pt x="373" y="146"/>
                  </a:lnTo>
                  <a:lnTo>
                    <a:pt x="378" y="147"/>
                  </a:lnTo>
                  <a:lnTo>
                    <a:pt x="384" y="149"/>
                  </a:lnTo>
                  <a:lnTo>
                    <a:pt x="391" y="147"/>
                  </a:lnTo>
                  <a:lnTo>
                    <a:pt x="399" y="143"/>
                  </a:lnTo>
                  <a:lnTo>
                    <a:pt x="399" y="143"/>
                  </a:lnTo>
                  <a:lnTo>
                    <a:pt x="404" y="139"/>
                  </a:lnTo>
                  <a:lnTo>
                    <a:pt x="410" y="138"/>
                  </a:lnTo>
                  <a:lnTo>
                    <a:pt x="421" y="136"/>
                  </a:lnTo>
                  <a:lnTo>
                    <a:pt x="421" y="136"/>
                  </a:lnTo>
                  <a:lnTo>
                    <a:pt x="427" y="135"/>
                  </a:lnTo>
                  <a:lnTo>
                    <a:pt x="429" y="132"/>
                  </a:lnTo>
                  <a:lnTo>
                    <a:pt x="432" y="128"/>
                  </a:lnTo>
                  <a:lnTo>
                    <a:pt x="435" y="124"/>
                  </a:lnTo>
                  <a:lnTo>
                    <a:pt x="435" y="124"/>
                  </a:lnTo>
                  <a:lnTo>
                    <a:pt x="441" y="120"/>
                  </a:lnTo>
                  <a:lnTo>
                    <a:pt x="445" y="117"/>
                  </a:lnTo>
                  <a:lnTo>
                    <a:pt x="450" y="115"/>
                  </a:lnTo>
                  <a:lnTo>
                    <a:pt x="454" y="115"/>
                  </a:lnTo>
                  <a:lnTo>
                    <a:pt x="454" y="115"/>
                  </a:lnTo>
                  <a:lnTo>
                    <a:pt x="460" y="114"/>
                  </a:lnTo>
                  <a:lnTo>
                    <a:pt x="466" y="113"/>
                  </a:lnTo>
                  <a:lnTo>
                    <a:pt x="470" y="111"/>
                  </a:lnTo>
                  <a:lnTo>
                    <a:pt x="475" y="111"/>
                  </a:lnTo>
                  <a:lnTo>
                    <a:pt x="475" y="111"/>
                  </a:lnTo>
                  <a:lnTo>
                    <a:pt x="479" y="113"/>
                  </a:lnTo>
                  <a:lnTo>
                    <a:pt x="485" y="113"/>
                  </a:lnTo>
                  <a:lnTo>
                    <a:pt x="489" y="113"/>
                  </a:lnTo>
                  <a:lnTo>
                    <a:pt x="491" y="111"/>
                  </a:lnTo>
                  <a:lnTo>
                    <a:pt x="491" y="110"/>
                  </a:lnTo>
                  <a:lnTo>
                    <a:pt x="491" y="110"/>
                  </a:lnTo>
                  <a:lnTo>
                    <a:pt x="491" y="107"/>
                  </a:lnTo>
                  <a:lnTo>
                    <a:pt x="489" y="104"/>
                  </a:lnTo>
                  <a:lnTo>
                    <a:pt x="484" y="99"/>
                  </a:lnTo>
                  <a:lnTo>
                    <a:pt x="477" y="93"/>
                  </a:lnTo>
                  <a:lnTo>
                    <a:pt x="471" y="88"/>
                  </a:lnTo>
                  <a:lnTo>
                    <a:pt x="471" y="8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25" name="Freeform 55"/>
            <p:cNvSpPr>
              <a:spLocks/>
            </p:cNvSpPr>
            <p:nvPr/>
          </p:nvSpPr>
          <p:spPr bwMode="auto">
            <a:xfrm>
              <a:off x="6316663" y="2836863"/>
              <a:ext cx="271463" cy="114300"/>
            </a:xfrm>
            <a:custGeom>
              <a:avLst/>
              <a:gdLst>
                <a:gd name="T0" fmla="*/ 154 w 171"/>
                <a:gd name="T1" fmla="*/ 10 h 72"/>
                <a:gd name="T2" fmla="*/ 143 w 171"/>
                <a:gd name="T3" fmla="*/ 10 h 72"/>
                <a:gd name="T4" fmla="*/ 111 w 171"/>
                <a:gd name="T5" fmla="*/ 5 h 72"/>
                <a:gd name="T6" fmla="*/ 98 w 171"/>
                <a:gd name="T7" fmla="*/ 7 h 72"/>
                <a:gd name="T8" fmla="*/ 82 w 171"/>
                <a:gd name="T9" fmla="*/ 1 h 72"/>
                <a:gd name="T10" fmla="*/ 68 w 171"/>
                <a:gd name="T11" fmla="*/ 3 h 72"/>
                <a:gd name="T12" fmla="*/ 66 w 171"/>
                <a:gd name="T13" fmla="*/ 7 h 72"/>
                <a:gd name="T14" fmla="*/ 58 w 171"/>
                <a:gd name="T15" fmla="*/ 12 h 72"/>
                <a:gd name="T16" fmla="*/ 46 w 171"/>
                <a:gd name="T17" fmla="*/ 7 h 72"/>
                <a:gd name="T18" fmla="*/ 32 w 171"/>
                <a:gd name="T19" fmla="*/ 8 h 72"/>
                <a:gd name="T20" fmla="*/ 29 w 171"/>
                <a:gd name="T21" fmla="*/ 14 h 72"/>
                <a:gd name="T22" fmla="*/ 21 w 171"/>
                <a:gd name="T23" fmla="*/ 21 h 72"/>
                <a:gd name="T24" fmla="*/ 16 w 171"/>
                <a:gd name="T25" fmla="*/ 29 h 72"/>
                <a:gd name="T26" fmla="*/ 22 w 171"/>
                <a:gd name="T27" fmla="*/ 35 h 72"/>
                <a:gd name="T28" fmla="*/ 32 w 171"/>
                <a:gd name="T29" fmla="*/ 36 h 72"/>
                <a:gd name="T30" fmla="*/ 36 w 171"/>
                <a:gd name="T31" fmla="*/ 33 h 72"/>
                <a:gd name="T32" fmla="*/ 50 w 171"/>
                <a:gd name="T33" fmla="*/ 39 h 72"/>
                <a:gd name="T34" fmla="*/ 58 w 171"/>
                <a:gd name="T35" fmla="*/ 47 h 72"/>
                <a:gd name="T36" fmla="*/ 51 w 171"/>
                <a:gd name="T37" fmla="*/ 50 h 72"/>
                <a:gd name="T38" fmla="*/ 48 w 171"/>
                <a:gd name="T39" fmla="*/ 54 h 72"/>
                <a:gd name="T40" fmla="*/ 37 w 171"/>
                <a:gd name="T41" fmla="*/ 54 h 72"/>
                <a:gd name="T42" fmla="*/ 30 w 171"/>
                <a:gd name="T43" fmla="*/ 55 h 72"/>
                <a:gd name="T44" fmla="*/ 11 w 171"/>
                <a:gd name="T45" fmla="*/ 57 h 72"/>
                <a:gd name="T46" fmla="*/ 1 w 171"/>
                <a:gd name="T47" fmla="*/ 64 h 72"/>
                <a:gd name="T48" fmla="*/ 1 w 171"/>
                <a:gd name="T49" fmla="*/ 68 h 72"/>
                <a:gd name="T50" fmla="*/ 16 w 171"/>
                <a:gd name="T51" fmla="*/ 66 h 72"/>
                <a:gd name="T52" fmla="*/ 22 w 171"/>
                <a:gd name="T53" fmla="*/ 68 h 72"/>
                <a:gd name="T54" fmla="*/ 30 w 171"/>
                <a:gd name="T55" fmla="*/ 68 h 72"/>
                <a:gd name="T56" fmla="*/ 37 w 171"/>
                <a:gd name="T57" fmla="*/ 69 h 72"/>
                <a:gd name="T58" fmla="*/ 43 w 171"/>
                <a:gd name="T59" fmla="*/ 72 h 72"/>
                <a:gd name="T60" fmla="*/ 50 w 171"/>
                <a:gd name="T61" fmla="*/ 72 h 72"/>
                <a:gd name="T62" fmla="*/ 71 w 171"/>
                <a:gd name="T63" fmla="*/ 71 h 72"/>
                <a:gd name="T64" fmla="*/ 73 w 171"/>
                <a:gd name="T65" fmla="*/ 62 h 72"/>
                <a:gd name="T66" fmla="*/ 75 w 171"/>
                <a:gd name="T67" fmla="*/ 60 h 72"/>
                <a:gd name="T68" fmla="*/ 82 w 171"/>
                <a:gd name="T69" fmla="*/ 57 h 72"/>
                <a:gd name="T70" fmla="*/ 89 w 171"/>
                <a:gd name="T71" fmla="*/ 53 h 72"/>
                <a:gd name="T72" fmla="*/ 96 w 171"/>
                <a:gd name="T73" fmla="*/ 50 h 72"/>
                <a:gd name="T74" fmla="*/ 103 w 171"/>
                <a:gd name="T75" fmla="*/ 53 h 72"/>
                <a:gd name="T76" fmla="*/ 108 w 171"/>
                <a:gd name="T77" fmla="*/ 53 h 72"/>
                <a:gd name="T78" fmla="*/ 116 w 171"/>
                <a:gd name="T79" fmla="*/ 47 h 72"/>
                <a:gd name="T80" fmla="*/ 123 w 171"/>
                <a:gd name="T81" fmla="*/ 41 h 72"/>
                <a:gd name="T82" fmla="*/ 136 w 171"/>
                <a:gd name="T83" fmla="*/ 43 h 72"/>
                <a:gd name="T84" fmla="*/ 144 w 171"/>
                <a:gd name="T85" fmla="*/ 36 h 72"/>
                <a:gd name="T86" fmla="*/ 148 w 171"/>
                <a:gd name="T87" fmla="*/ 32 h 72"/>
                <a:gd name="T88" fmla="*/ 164 w 171"/>
                <a:gd name="T89" fmla="*/ 25 h 72"/>
                <a:gd name="T90" fmla="*/ 171 w 171"/>
                <a:gd name="T91" fmla="*/ 21 h 72"/>
                <a:gd name="T92" fmla="*/ 168 w 171"/>
                <a:gd name="T93" fmla="*/ 17 h 72"/>
                <a:gd name="T94" fmla="*/ 158 w 171"/>
                <a:gd name="T95" fmla="*/ 1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71" h="72">
                  <a:moveTo>
                    <a:pt x="158" y="14"/>
                  </a:moveTo>
                  <a:lnTo>
                    <a:pt x="158" y="14"/>
                  </a:lnTo>
                  <a:lnTo>
                    <a:pt x="154" y="10"/>
                  </a:lnTo>
                  <a:lnTo>
                    <a:pt x="151" y="10"/>
                  </a:lnTo>
                  <a:lnTo>
                    <a:pt x="147" y="10"/>
                  </a:lnTo>
                  <a:lnTo>
                    <a:pt x="143" y="10"/>
                  </a:lnTo>
                  <a:lnTo>
                    <a:pt x="143" y="10"/>
                  </a:lnTo>
                  <a:lnTo>
                    <a:pt x="122" y="7"/>
                  </a:lnTo>
                  <a:lnTo>
                    <a:pt x="111" y="5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98" y="7"/>
                  </a:lnTo>
                  <a:lnTo>
                    <a:pt x="91" y="5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78" y="0"/>
                  </a:lnTo>
                  <a:lnTo>
                    <a:pt x="73" y="1"/>
                  </a:lnTo>
                  <a:lnTo>
                    <a:pt x="68" y="3"/>
                  </a:lnTo>
                  <a:lnTo>
                    <a:pt x="66" y="5"/>
                  </a:lnTo>
                  <a:lnTo>
                    <a:pt x="66" y="7"/>
                  </a:lnTo>
                  <a:lnTo>
                    <a:pt x="66" y="7"/>
                  </a:lnTo>
                  <a:lnTo>
                    <a:pt x="65" y="11"/>
                  </a:lnTo>
                  <a:lnTo>
                    <a:pt x="62" y="12"/>
                  </a:lnTo>
                  <a:lnTo>
                    <a:pt x="58" y="12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46" y="7"/>
                  </a:lnTo>
                  <a:lnTo>
                    <a:pt x="39" y="7"/>
                  </a:lnTo>
                  <a:lnTo>
                    <a:pt x="33" y="7"/>
                  </a:lnTo>
                  <a:lnTo>
                    <a:pt x="32" y="8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9" y="14"/>
                  </a:lnTo>
                  <a:lnTo>
                    <a:pt x="26" y="17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19" y="23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9" y="32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5" y="36"/>
                  </a:lnTo>
                  <a:lnTo>
                    <a:pt x="29" y="37"/>
                  </a:lnTo>
                  <a:lnTo>
                    <a:pt x="32" y="36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6" y="33"/>
                  </a:lnTo>
                  <a:lnTo>
                    <a:pt x="37" y="33"/>
                  </a:lnTo>
                  <a:lnTo>
                    <a:pt x="43" y="35"/>
                  </a:lnTo>
                  <a:lnTo>
                    <a:pt x="50" y="39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8" y="47"/>
                  </a:lnTo>
                  <a:lnTo>
                    <a:pt x="57" y="47"/>
                  </a:lnTo>
                  <a:lnTo>
                    <a:pt x="53" y="48"/>
                  </a:lnTo>
                  <a:lnTo>
                    <a:pt x="51" y="50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48" y="54"/>
                  </a:lnTo>
                  <a:lnTo>
                    <a:pt x="46" y="54"/>
                  </a:lnTo>
                  <a:lnTo>
                    <a:pt x="41" y="54"/>
                  </a:lnTo>
                  <a:lnTo>
                    <a:pt x="37" y="54"/>
                  </a:lnTo>
                  <a:lnTo>
                    <a:pt x="35" y="54"/>
                  </a:lnTo>
                  <a:lnTo>
                    <a:pt x="35" y="54"/>
                  </a:lnTo>
                  <a:lnTo>
                    <a:pt x="30" y="55"/>
                  </a:lnTo>
                  <a:lnTo>
                    <a:pt x="23" y="57"/>
                  </a:lnTo>
                  <a:lnTo>
                    <a:pt x="11" y="57"/>
                  </a:lnTo>
                  <a:lnTo>
                    <a:pt x="11" y="57"/>
                  </a:lnTo>
                  <a:lnTo>
                    <a:pt x="8" y="58"/>
                  </a:lnTo>
                  <a:lnTo>
                    <a:pt x="4" y="61"/>
                  </a:lnTo>
                  <a:lnTo>
                    <a:pt x="1" y="64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1" y="68"/>
                  </a:lnTo>
                  <a:lnTo>
                    <a:pt x="4" y="68"/>
                  </a:lnTo>
                  <a:lnTo>
                    <a:pt x="10" y="68"/>
                  </a:lnTo>
                  <a:lnTo>
                    <a:pt x="16" y="66"/>
                  </a:lnTo>
                  <a:lnTo>
                    <a:pt x="21" y="68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5" y="69"/>
                  </a:lnTo>
                  <a:lnTo>
                    <a:pt x="26" y="69"/>
                  </a:lnTo>
                  <a:lnTo>
                    <a:pt x="30" y="68"/>
                  </a:lnTo>
                  <a:lnTo>
                    <a:pt x="35" y="68"/>
                  </a:lnTo>
                  <a:lnTo>
                    <a:pt x="36" y="68"/>
                  </a:lnTo>
                  <a:lnTo>
                    <a:pt x="37" y="69"/>
                  </a:lnTo>
                  <a:lnTo>
                    <a:pt x="37" y="69"/>
                  </a:lnTo>
                  <a:lnTo>
                    <a:pt x="40" y="71"/>
                  </a:lnTo>
                  <a:lnTo>
                    <a:pt x="43" y="72"/>
                  </a:lnTo>
                  <a:lnTo>
                    <a:pt x="47" y="71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4" y="72"/>
                  </a:lnTo>
                  <a:lnTo>
                    <a:pt x="61" y="72"/>
                  </a:lnTo>
                  <a:lnTo>
                    <a:pt x="71" y="71"/>
                  </a:lnTo>
                  <a:lnTo>
                    <a:pt x="71" y="71"/>
                  </a:lnTo>
                  <a:lnTo>
                    <a:pt x="72" y="66"/>
                  </a:lnTo>
                  <a:lnTo>
                    <a:pt x="73" y="62"/>
                  </a:lnTo>
                  <a:lnTo>
                    <a:pt x="73" y="62"/>
                  </a:lnTo>
                  <a:lnTo>
                    <a:pt x="73" y="61"/>
                  </a:lnTo>
                  <a:lnTo>
                    <a:pt x="75" y="60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2" y="57"/>
                  </a:lnTo>
                  <a:lnTo>
                    <a:pt x="85" y="55"/>
                  </a:lnTo>
                  <a:lnTo>
                    <a:pt x="86" y="54"/>
                  </a:lnTo>
                  <a:lnTo>
                    <a:pt x="89" y="53"/>
                  </a:lnTo>
                  <a:lnTo>
                    <a:pt x="89" y="53"/>
                  </a:lnTo>
                  <a:lnTo>
                    <a:pt x="93" y="51"/>
                  </a:lnTo>
                  <a:lnTo>
                    <a:pt x="96" y="50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103" y="53"/>
                  </a:lnTo>
                  <a:lnTo>
                    <a:pt x="105" y="54"/>
                  </a:lnTo>
                  <a:lnTo>
                    <a:pt x="108" y="53"/>
                  </a:lnTo>
                  <a:lnTo>
                    <a:pt x="108" y="53"/>
                  </a:lnTo>
                  <a:lnTo>
                    <a:pt x="112" y="51"/>
                  </a:lnTo>
                  <a:lnTo>
                    <a:pt x="114" y="50"/>
                  </a:lnTo>
                  <a:lnTo>
                    <a:pt x="116" y="47"/>
                  </a:lnTo>
                  <a:lnTo>
                    <a:pt x="116" y="47"/>
                  </a:lnTo>
                  <a:lnTo>
                    <a:pt x="121" y="43"/>
                  </a:lnTo>
                  <a:lnTo>
                    <a:pt x="123" y="41"/>
                  </a:lnTo>
                  <a:lnTo>
                    <a:pt x="132" y="43"/>
                  </a:lnTo>
                  <a:lnTo>
                    <a:pt x="132" y="43"/>
                  </a:lnTo>
                  <a:lnTo>
                    <a:pt x="136" y="43"/>
                  </a:lnTo>
                  <a:lnTo>
                    <a:pt x="139" y="40"/>
                  </a:lnTo>
                  <a:lnTo>
                    <a:pt x="141" y="39"/>
                  </a:lnTo>
                  <a:lnTo>
                    <a:pt x="144" y="36"/>
                  </a:lnTo>
                  <a:lnTo>
                    <a:pt x="144" y="36"/>
                  </a:lnTo>
                  <a:lnTo>
                    <a:pt x="146" y="33"/>
                  </a:lnTo>
                  <a:lnTo>
                    <a:pt x="148" y="32"/>
                  </a:lnTo>
                  <a:lnTo>
                    <a:pt x="155" y="29"/>
                  </a:lnTo>
                  <a:lnTo>
                    <a:pt x="155" y="29"/>
                  </a:lnTo>
                  <a:lnTo>
                    <a:pt x="164" y="25"/>
                  </a:lnTo>
                  <a:lnTo>
                    <a:pt x="169" y="22"/>
                  </a:lnTo>
                  <a:lnTo>
                    <a:pt x="169" y="22"/>
                  </a:lnTo>
                  <a:lnTo>
                    <a:pt x="171" y="21"/>
                  </a:lnTo>
                  <a:lnTo>
                    <a:pt x="171" y="18"/>
                  </a:lnTo>
                  <a:lnTo>
                    <a:pt x="171" y="18"/>
                  </a:lnTo>
                  <a:lnTo>
                    <a:pt x="168" y="17"/>
                  </a:lnTo>
                  <a:lnTo>
                    <a:pt x="164" y="17"/>
                  </a:lnTo>
                  <a:lnTo>
                    <a:pt x="161" y="15"/>
                  </a:lnTo>
                  <a:lnTo>
                    <a:pt x="158" y="14"/>
                  </a:lnTo>
                  <a:lnTo>
                    <a:pt x="158" y="1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26" name="Freeform 58"/>
            <p:cNvSpPr>
              <a:spLocks/>
            </p:cNvSpPr>
            <p:nvPr/>
          </p:nvSpPr>
          <p:spPr bwMode="auto">
            <a:xfrm>
              <a:off x="6532563" y="3052763"/>
              <a:ext cx="57150" cy="52388"/>
            </a:xfrm>
            <a:custGeom>
              <a:avLst/>
              <a:gdLst>
                <a:gd name="T0" fmla="*/ 18 w 36"/>
                <a:gd name="T1" fmla="*/ 0 h 33"/>
                <a:gd name="T2" fmla="*/ 18 w 36"/>
                <a:gd name="T3" fmla="*/ 0 h 33"/>
                <a:gd name="T4" fmla="*/ 12 w 36"/>
                <a:gd name="T5" fmla="*/ 0 h 33"/>
                <a:gd name="T6" fmla="*/ 7 w 36"/>
                <a:gd name="T7" fmla="*/ 3 h 33"/>
                <a:gd name="T8" fmla="*/ 3 w 36"/>
                <a:gd name="T9" fmla="*/ 5 h 33"/>
                <a:gd name="T10" fmla="*/ 0 w 36"/>
                <a:gd name="T11" fmla="*/ 10 h 33"/>
                <a:gd name="T12" fmla="*/ 0 w 36"/>
                <a:gd name="T13" fmla="*/ 10 h 33"/>
                <a:gd name="T14" fmla="*/ 3 w 36"/>
                <a:gd name="T15" fmla="*/ 14 h 33"/>
                <a:gd name="T16" fmla="*/ 3 w 36"/>
                <a:gd name="T17" fmla="*/ 14 h 33"/>
                <a:gd name="T18" fmla="*/ 4 w 36"/>
                <a:gd name="T19" fmla="*/ 17 h 33"/>
                <a:gd name="T20" fmla="*/ 5 w 36"/>
                <a:gd name="T21" fmla="*/ 19 h 33"/>
                <a:gd name="T22" fmla="*/ 11 w 36"/>
                <a:gd name="T23" fmla="*/ 25 h 33"/>
                <a:gd name="T24" fmla="*/ 11 w 36"/>
                <a:gd name="T25" fmla="*/ 25 h 33"/>
                <a:gd name="T26" fmla="*/ 12 w 36"/>
                <a:gd name="T27" fmla="*/ 26 h 33"/>
                <a:gd name="T28" fmla="*/ 14 w 36"/>
                <a:gd name="T29" fmla="*/ 28 h 33"/>
                <a:gd name="T30" fmla="*/ 12 w 36"/>
                <a:gd name="T31" fmla="*/ 33 h 33"/>
                <a:gd name="T32" fmla="*/ 12 w 36"/>
                <a:gd name="T33" fmla="*/ 33 h 33"/>
                <a:gd name="T34" fmla="*/ 19 w 36"/>
                <a:gd name="T35" fmla="*/ 33 h 33"/>
                <a:gd name="T36" fmla="*/ 19 w 36"/>
                <a:gd name="T37" fmla="*/ 33 h 33"/>
                <a:gd name="T38" fmla="*/ 23 w 36"/>
                <a:gd name="T39" fmla="*/ 30 h 33"/>
                <a:gd name="T40" fmla="*/ 29 w 36"/>
                <a:gd name="T41" fmla="*/ 25 h 33"/>
                <a:gd name="T42" fmla="*/ 36 w 36"/>
                <a:gd name="T43" fmla="*/ 14 h 33"/>
                <a:gd name="T44" fmla="*/ 36 w 36"/>
                <a:gd name="T45" fmla="*/ 14 h 33"/>
                <a:gd name="T46" fmla="*/ 35 w 36"/>
                <a:gd name="T47" fmla="*/ 12 h 33"/>
                <a:gd name="T48" fmla="*/ 35 w 36"/>
                <a:gd name="T49" fmla="*/ 11 h 33"/>
                <a:gd name="T50" fmla="*/ 29 w 36"/>
                <a:gd name="T51" fmla="*/ 5 h 33"/>
                <a:gd name="T52" fmla="*/ 23 w 36"/>
                <a:gd name="T53" fmla="*/ 1 h 33"/>
                <a:gd name="T54" fmla="*/ 18 w 36"/>
                <a:gd name="T55" fmla="*/ 0 h 33"/>
                <a:gd name="T56" fmla="*/ 18 w 36"/>
                <a:gd name="T5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6" h="33">
                  <a:moveTo>
                    <a:pt x="18" y="0"/>
                  </a:moveTo>
                  <a:lnTo>
                    <a:pt x="18" y="0"/>
                  </a:lnTo>
                  <a:lnTo>
                    <a:pt x="12" y="0"/>
                  </a:lnTo>
                  <a:lnTo>
                    <a:pt x="7" y="3"/>
                  </a:lnTo>
                  <a:lnTo>
                    <a:pt x="3" y="5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7"/>
                  </a:lnTo>
                  <a:lnTo>
                    <a:pt x="5" y="19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2" y="26"/>
                  </a:lnTo>
                  <a:lnTo>
                    <a:pt x="14" y="28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23" y="30"/>
                  </a:lnTo>
                  <a:lnTo>
                    <a:pt x="29" y="25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5" y="12"/>
                  </a:lnTo>
                  <a:lnTo>
                    <a:pt x="35" y="11"/>
                  </a:lnTo>
                  <a:lnTo>
                    <a:pt x="29" y="5"/>
                  </a:lnTo>
                  <a:lnTo>
                    <a:pt x="23" y="1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27" name="Freeform 59"/>
            <p:cNvSpPr>
              <a:spLocks/>
            </p:cNvSpPr>
            <p:nvPr/>
          </p:nvSpPr>
          <p:spPr bwMode="auto">
            <a:xfrm>
              <a:off x="7654926" y="2844800"/>
              <a:ext cx="168275" cy="158750"/>
            </a:xfrm>
            <a:custGeom>
              <a:avLst/>
              <a:gdLst>
                <a:gd name="T0" fmla="*/ 102 w 106"/>
                <a:gd name="T1" fmla="*/ 5 h 100"/>
                <a:gd name="T2" fmla="*/ 95 w 106"/>
                <a:gd name="T3" fmla="*/ 3 h 100"/>
                <a:gd name="T4" fmla="*/ 90 w 106"/>
                <a:gd name="T5" fmla="*/ 0 h 100"/>
                <a:gd name="T6" fmla="*/ 88 w 106"/>
                <a:gd name="T7" fmla="*/ 0 h 100"/>
                <a:gd name="T8" fmla="*/ 84 w 106"/>
                <a:gd name="T9" fmla="*/ 6 h 100"/>
                <a:gd name="T10" fmla="*/ 81 w 106"/>
                <a:gd name="T11" fmla="*/ 12 h 100"/>
                <a:gd name="T12" fmla="*/ 80 w 106"/>
                <a:gd name="T13" fmla="*/ 12 h 100"/>
                <a:gd name="T14" fmla="*/ 76 w 106"/>
                <a:gd name="T15" fmla="*/ 16 h 100"/>
                <a:gd name="T16" fmla="*/ 69 w 106"/>
                <a:gd name="T17" fmla="*/ 20 h 100"/>
                <a:gd name="T18" fmla="*/ 62 w 106"/>
                <a:gd name="T19" fmla="*/ 21 h 100"/>
                <a:gd name="T20" fmla="*/ 63 w 106"/>
                <a:gd name="T21" fmla="*/ 27 h 100"/>
                <a:gd name="T22" fmla="*/ 63 w 106"/>
                <a:gd name="T23" fmla="*/ 28 h 100"/>
                <a:gd name="T24" fmla="*/ 54 w 106"/>
                <a:gd name="T25" fmla="*/ 30 h 100"/>
                <a:gd name="T26" fmla="*/ 50 w 106"/>
                <a:gd name="T27" fmla="*/ 28 h 100"/>
                <a:gd name="T28" fmla="*/ 45 w 106"/>
                <a:gd name="T29" fmla="*/ 25 h 100"/>
                <a:gd name="T30" fmla="*/ 43 w 106"/>
                <a:gd name="T31" fmla="*/ 25 h 100"/>
                <a:gd name="T32" fmla="*/ 37 w 106"/>
                <a:gd name="T33" fmla="*/ 30 h 100"/>
                <a:gd name="T34" fmla="*/ 33 w 106"/>
                <a:gd name="T35" fmla="*/ 36 h 100"/>
                <a:gd name="T36" fmla="*/ 19 w 106"/>
                <a:gd name="T37" fmla="*/ 45 h 100"/>
                <a:gd name="T38" fmla="*/ 4 w 106"/>
                <a:gd name="T39" fmla="*/ 52 h 100"/>
                <a:gd name="T40" fmla="*/ 0 w 106"/>
                <a:gd name="T41" fmla="*/ 59 h 100"/>
                <a:gd name="T42" fmla="*/ 5 w 106"/>
                <a:gd name="T43" fmla="*/ 60 h 100"/>
                <a:gd name="T44" fmla="*/ 13 w 106"/>
                <a:gd name="T45" fmla="*/ 66 h 100"/>
                <a:gd name="T46" fmla="*/ 18 w 106"/>
                <a:gd name="T47" fmla="*/ 68 h 100"/>
                <a:gd name="T48" fmla="*/ 18 w 106"/>
                <a:gd name="T49" fmla="*/ 73 h 100"/>
                <a:gd name="T50" fmla="*/ 8 w 106"/>
                <a:gd name="T51" fmla="*/ 85 h 100"/>
                <a:gd name="T52" fmla="*/ 6 w 106"/>
                <a:gd name="T53" fmla="*/ 88 h 100"/>
                <a:gd name="T54" fmla="*/ 9 w 106"/>
                <a:gd name="T55" fmla="*/ 92 h 100"/>
                <a:gd name="T56" fmla="*/ 11 w 106"/>
                <a:gd name="T57" fmla="*/ 95 h 100"/>
                <a:gd name="T58" fmla="*/ 13 w 106"/>
                <a:gd name="T59" fmla="*/ 99 h 100"/>
                <a:gd name="T60" fmla="*/ 19 w 106"/>
                <a:gd name="T61" fmla="*/ 99 h 100"/>
                <a:gd name="T62" fmla="*/ 20 w 106"/>
                <a:gd name="T63" fmla="*/ 96 h 100"/>
                <a:gd name="T64" fmla="*/ 30 w 106"/>
                <a:gd name="T65" fmla="*/ 96 h 100"/>
                <a:gd name="T66" fmla="*/ 33 w 106"/>
                <a:gd name="T67" fmla="*/ 96 h 100"/>
                <a:gd name="T68" fmla="*/ 34 w 106"/>
                <a:gd name="T69" fmla="*/ 98 h 100"/>
                <a:gd name="T70" fmla="*/ 44 w 106"/>
                <a:gd name="T71" fmla="*/ 91 h 100"/>
                <a:gd name="T72" fmla="*/ 50 w 106"/>
                <a:gd name="T73" fmla="*/ 89 h 100"/>
                <a:gd name="T74" fmla="*/ 58 w 106"/>
                <a:gd name="T75" fmla="*/ 88 h 100"/>
                <a:gd name="T76" fmla="*/ 66 w 106"/>
                <a:gd name="T77" fmla="*/ 85 h 100"/>
                <a:gd name="T78" fmla="*/ 58 w 106"/>
                <a:gd name="T79" fmla="*/ 77 h 100"/>
                <a:gd name="T80" fmla="*/ 52 w 106"/>
                <a:gd name="T81" fmla="*/ 73 h 100"/>
                <a:gd name="T82" fmla="*/ 50 w 106"/>
                <a:gd name="T83" fmla="*/ 68 h 100"/>
                <a:gd name="T84" fmla="*/ 52 w 106"/>
                <a:gd name="T85" fmla="*/ 60 h 100"/>
                <a:gd name="T86" fmla="*/ 56 w 106"/>
                <a:gd name="T87" fmla="*/ 59 h 100"/>
                <a:gd name="T88" fmla="*/ 70 w 106"/>
                <a:gd name="T89" fmla="*/ 50 h 100"/>
                <a:gd name="T90" fmla="*/ 84 w 106"/>
                <a:gd name="T91" fmla="*/ 42 h 100"/>
                <a:gd name="T92" fmla="*/ 87 w 106"/>
                <a:gd name="T93" fmla="*/ 34 h 100"/>
                <a:gd name="T94" fmla="*/ 90 w 106"/>
                <a:gd name="T95" fmla="*/ 23 h 100"/>
                <a:gd name="T96" fmla="*/ 95 w 106"/>
                <a:gd name="T97" fmla="*/ 14 h 100"/>
                <a:gd name="T98" fmla="*/ 106 w 106"/>
                <a:gd name="T99" fmla="*/ 6 h 100"/>
                <a:gd name="T100" fmla="*/ 102 w 106"/>
                <a:gd name="T101" fmla="*/ 5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6" h="100">
                  <a:moveTo>
                    <a:pt x="102" y="5"/>
                  </a:moveTo>
                  <a:lnTo>
                    <a:pt x="102" y="5"/>
                  </a:lnTo>
                  <a:lnTo>
                    <a:pt x="98" y="5"/>
                  </a:lnTo>
                  <a:lnTo>
                    <a:pt x="95" y="3"/>
                  </a:lnTo>
                  <a:lnTo>
                    <a:pt x="93" y="0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87" y="2"/>
                  </a:lnTo>
                  <a:lnTo>
                    <a:pt x="84" y="6"/>
                  </a:lnTo>
                  <a:lnTo>
                    <a:pt x="83" y="10"/>
                  </a:lnTo>
                  <a:lnTo>
                    <a:pt x="81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77" y="13"/>
                  </a:lnTo>
                  <a:lnTo>
                    <a:pt x="76" y="16"/>
                  </a:lnTo>
                  <a:lnTo>
                    <a:pt x="73" y="18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2" y="21"/>
                  </a:lnTo>
                  <a:lnTo>
                    <a:pt x="62" y="23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8"/>
                  </a:lnTo>
                  <a:lnTo>
                    <a:pt x="62" y="30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50" y="28"/>
                  </a:lnTo>
                  <a:lnTo>
                    <a:pt x="47" y="27"/>
                  </a:lnTo>
                  <a:lnTo>
                    <a:pt x="45" y="25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0" y="27"/>
                  </a:lnTo>
                  <a:lnTo>
                    <a:pt x="37" y="30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27" y="41"/>
                  </a:lnTo>
                  <a:lnTo>
                    <a:pt x="19" y="45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1" y="55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5" y="60"/>
                  </a:lnTo>
                  <a:lnTo>
                    <a:pt x="9" y="63"/>
                  </a:lnTo>
                  <a:lnTo>
                    <a:pt x="13" y="66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70"/>
                  </a:lnTo>
                  <a:lnTo>
                    <a:pt x="18" y="73"/>
                  </a:lnTo>
                  <a:lnTo>
                    <a:pt x="16" y="77"/>
                  </a:lnTo>
                  <a:lnTo>
                    <a:pt x="8" y="85"/>
                  </a:lnTo>
                  <a:lnTo>
                    <a:pt x="8" y="85"/>
                  </a:lnTo>
                  <a:lnTo>
                    <a:pt x="6" y="88"/>
                  </a:lnTo>
                  <a:lnTo>
                    <a:pt x="8" y="91"/>
                  </a:lnTo>
                  <a:lnTo>
                    <a:pt x="9" y="92"/>
                  </a:lnTo>
                  <a:lnTo>
                    <a:pt x="11" y="95"/>
                  </a:lnTo>
                  <a:lnTo>
                    <a:pt x="11" y="95"/>
                  </a:lnTo>
                  <a:lnTo>
                    <a:pt x="12" y="98"/>
                  </a:lnTo>
                  <a:lnTo>
                    <a:pt x="13" y="99"/>
                  </a:lnTo>
                  <a:lnTo>
                    <a:pt x="16" y="100"/>
                  </a:lnTo>
                  <a:lnTo>
                    <a:pt x="19" y="99"/>
                  </a:lnTo>
                  <a:lnTo>
                    <a:pt x="19" y="99"/>
                  </a:lnTo>
                  <a:lnTo>
                    <a:pt x="20" y="96"/>
                  </a:lnTo>
                  <a:lnTo>
                    <a:pt x="23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3" y="96"/>
                  </a:lnTo>
                  <a:lnTo>
                    <a:pt x="34" y="98"/>
                  </a:lnTo>
                  <a:lnTo>
                    <a:pt x="34" y="98"/>
                  </a:lnTo>
                  <a:lnTo>
                    <a:pt x="44" y="91"/>
                  </a:lnTo>
                  <a:lnTo>
                    <a:pt x="44" y="91"/>
                  </a:lnTo>
                  <a:lnTo>
                    <a:pt x="45" y="89"/>
                  </a:lnTo>
                  <a:lnTo>
                    <a:pt x="50" y="89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62" y="88"/>
                  </a:lnTo>
                  <a:lnTo>
                    <a:pt x="66" y="85"/>
                  </a:lnTo>
                  <a:lnTo>
                    <a:pt x="66" y="85"/>
                  </a:lnTo>
                  <a:lnTo>
                    <a:pt x="58" y="77"/>
                  </a:lnTo>
                  <a:lnTo>
                    <a:pt x="52" y="73"/>
                  </a:lnTo>
                  <a:lnTo>
                    <a:pt x="52" y="73"/>
                  </a:lnTo>
                  <a:lnTo>
                    <a:pt x="51" y="70"/>
                  </a:lnTo>
                  <a:lnTo>
                    <a:pt x="50" y="68"/>
                  </a:lnTo>
                  <a:lnTo>
                    <a:pt x="50" y="64"/>
                  </a:lnTo>
                  <a:lnTo>
                    <a:pt x="52" y="60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63" y="55"/>
                  </a:lnTo>
                  <a:lnTo>
                    <a:pt x="70" y="50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6" y="38"/>
                  </a:lnTo>
                  <a:lnTo>
                    <a:pt x="87" y="34"/>
                  </a:lnTo>
                  <a:lnTo>
                    <a:pt x="87" y="28"/>
                  </a:lnTo>
                  <a:lnTo>
                    <a:pt x="90" y="23"/>
                  </a:lnTo>
                  <a:lnTo>
                    <a:pt x="90" y="23"/>
                  </a:lnTo>
                  <a:lnTo>
                    <a:pt x="95" y="14"/>
                  </a:lnTo>
                  <a:lnTo>
                    <a:pt x="106" y="6"/>
                  </a:lnTo>
                  <a:lnTo>
                    <a:pt x="106" y="6"/>
                  </a:lnTo>
                  <a:lnTo>
                    <a:pt x="102" y="5"/>
                  </a:lnTo>
                  <a:lnTo>
                    <a:pt x="102" y="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28" name="Freeform 60"/>
            <p:cNvSpPr>
              <a:spLocks/>
            </p:cNvSpPr>
            <p:nvPr/>
          </p:nvSpPr>
          <p:spPr bwMode="auto">
            <a:xfrm>
              <a:off x="6583363" y="3208338"/>
              <a:ext cx="187325" cy="106363"/>
            </a:xfrm>
            <a:custGeom>
              <a:avLst/>
              <a:gdLst>
                <a:gd name="T0" fmla="*/ 118 w 118"/>
                <a:gd name="T1" fmla="*/ 43 h 67"/>
                <a:gd name="T2" fmla="*/ 115 w 118"/>
                <a:gd name="T3" fmla="*/ 43 h 67"/>
                <a:gd name="T4" fmla="*/ 104 w 118"/>
                <a:gd name="T5" fmla="*/ 42 h 67"/>
                <a:gd name="T6" fmla="*/ 94 w 118"/>
                <a:gd name="T7" fmla="*/ 39 h 67"/>
                <a:gd name="T8" fmla="*/ 89 w 118"/>
                <a:gd name="T9" fmla="*/ 38 h 67"/>
                <a:gd name="T10" fmla="*/ 71 w 118"/>
                <a:gd name="T11" fmla="*/ 32 h 67"/>
                <a:gd name="T12" fmla="*/ 64 w 118"/>
                <a:gd name="T13" fmla="*/ 27 h 67"/>
                <a:gd name="T14" fmla="*/ 32 w 118"/>
                <a:gd name="T15" fmla="*/ 5 h 67"/>
                <a:gd name="T16" fmla="*/ 28 w 118"/>
                <a:gd name="T17" fmla="*/ 2 h 67"/>
                <a:gd name="T18" fmla="*/ 21 w 118"/>
                <a:gd name="T19" fmla="*/ 0 h 67"/>
                <a:gd name="T20" fmla="*/ 19 w 118"/>
                <a:gd name="T21" fmla="*/ 2 h 67"/>
                <a:gd name="T22" fmla="*/ 16 w 118"/>
                <a:gd name="T23" fmla="*/ 3 h 67"/>
                <a:gd name="T24" fmla="*/ 10 w 118"/>
                <a:gd name="T25" fmla="*/ 5 h 67"/>
                <a:gd name="T26" fmla="*/ 4 w 118"/>
                <a:gd name="T27" fmla="*/ 12 h 67"/>
                <a:gd name="T28" fmla="*/ 3 w 118"/>
                <a:gd name="T29" fmla="*/ 13 h 67"/>
                <a:gd name="T30" fmla="*/ 0 w 118"/>
                <a:gd name="T31" fmla="*/ 25 h 67"/>
                <a:gd name="T32" fmla="*/ 1 w 118"/>
                <a:gd name="T33" fmla="*/ 27 h 67"/>
                <a:gd name="T34" fmla="*/ 7 w 118"/>
                <a:gd name="T35" fmla="*/ 30 h 67"/>
                <a:gd name="T36" fmla="*/ 8 w 118"/>
                <a:gd name="T37" fmla="*/ 31 h 67"/>
                <a:gd name="T38" fmla="*/ 15 w 118"/>
                <a:gd name="T39" fmla="*/ 35 h 67"/>
                <a:gd name="T40" fmla="*/ 21 w 118"/>
                <a:gd name="T41" fmla="*/ 38 h 67"/>
                <a:gd name="T42" fmla="*/ 22 w 118"/>
                <a:gd name="T43" fmla="*/ 39 h 67"/>
                <a:gd name="T44" fmla="*/ 33 w 118"/>
                <a:gd name="T45" fmla="*/ 43 h 67"/>
                <a:gd name="T46" fmla="*/ 36 w 118"/>
                <a:gd name="T47" fmla="*/ 45 h 67"/>
                <a:gd name="T48" fmla="*/ 46 w 118"/>
                <a:gd name="T49" fmla="*/ 52 h 67"/>
                <a:gd name="T50" fmla="*/ 48 w 118"/>
                <a:gd name="T51" fmla="*/ 52 h 67"/>
                <a:gd name="T52" fmla="*/ 61 w 118"/>
                <a:gd name="T53" fmla="*/ 49 h 67"/>
                <a:gd name="T54" fmla="*/ 64 w 118"/>
                <a:gd name="T55" fmla="*/ 49 h 67"/>
                <a:gd name="T56" fmla="*/ 69 w 118"/>
                <a:gd name="T57" fmla="*/ 57 h 67"/>
                <a:gd name="T58" fmla="*/ 72 w 118"/>
                <a:gd name="T59" fmla="*/ 60 h 67"/>
                <a:gd name="T60" fmla="*/ 85 w 118"/>
                <a:gd name="T61" fmla="*/ 63 h 67"/>
                <a:gd name="T62" fmla="*/ 90 w 118"/>
                <a:gd name="T63" fmla="*/ 66 h 67"/>
                <a:gd name="T64" fmla="*/ 103 w 118"/>
                <a:gd name="T65" fmla="*/ 67 h 67"/>
                <a:gd name="T66" fmla="*/ 116 w 118"/>
                <a:gd name="T67" fmla="*/ 63 h 67"/>
                <a:gd name="T68" fmla="*/ 118 w 118"/>
                <a:gd name="T69" fmla="*/ 60 h 67"/>
                <a:gd name="T70" fmla="*/ 118 w 118"/>
                <a:gd name="T71" fmla="*/ 46 h 67"/>
                <a:gd name="T72" fmla="*/ 118 w 118"/>
                <a:gd name="T73" fmla="*/ 4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8" h="67">
                  <a:moveTo>
                    <a:pt x="118" y="43"/>
                  </a:moveTo>
                  <a:lnTo>
                    <a:pt x="118" y="43"/>
                  </a:lnTo>
                  <a:lnTo>
                    <a:pt x="115" y="43"/>
                  </a:lnTo>
                  <a:lnTo>
                    <a:pt x="115" y="43"/>
                  </a:lnTo>
                  <a:lnTo>
                    <a:pt x="108" y="43"/>
                  </a:lnTo>
                  <a:lnTo>
                    <a:pt x="104" y="42"/>
                  </a:lnTo>
                  <a:lnTo>
                    <a:pt x="98" y="39"/>
                  </a:lnTo>
                  <a:lnTo>
                    <a:pt x="94" y="39"/>
                  </a:lnTo>
                  <a:lnTo>
                    <a:pt x="94" y="39"/>
                  </a:lnTo>
                  <a:lnTo>
                    <a:pt x="89" y="38"/>
                  </a:lnTo>
                  <a:lnTo>
                    <a:pt x="80" y="35"/>
                  </a:lnTo>
                  <a:lnTo>
                    <a:pt x="71" y="32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47" y="16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28" y="2"/>
                  </a:lnTo>
                  <a:lnTo>
                    <a:pt x="25" y="0"/>
                  </a:lnTo>
                  <a:lnTo>
                    <a:pt x="21" y="0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3"/>
                  </a:lnTo>
                  <a:lnTo>
                    <a:pt x="16" y="3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5" y="9"/>
                  </a:lnTo>
                  <a:lnTo>
                    <a:pt x="4" y="12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1" y="20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4" y="28"/>
                  </a:lnTo>
                  <a:lnTo>
                    <a:pt x="7" y="30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11" y="34"/>
                  </a:lnTo>
                  <a:lnTo>
                    <a:pt x="15" y="35"/>
                  </a:lnTo>
                  <a:lnTo>
                    <a:pt x="19" y="37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2" y="39"/>
                  </a:lnTo>
                  <a:lnTo>
                    <a:pt x="25" y="42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6" y="45"/>
                  </a:lnTo>
                  <a:lnTo>
                    <a:pt x="40" y="48"/>
                  </a:lnTo>
                  <a:lnTo>
                    <a:pt x="46" y="52"/>
                  </a:lnTo>
                  <a:lnTo>
                    <a:pt x="46" y="52"/>
                  </a:lnTo>
                  <a:lnTo>
                    <a:pt x="48" y="52"/>
                  </a:lnTo>
                  <a:lnTo>
                    <a:pt x="53" y="50"/>
                  </a:lnTo>
                  <a:lnTo>
                    <a:pt x="61" y="49"/>
                  </a:lnTo>
                  <a:lnTo>
                    <a:pt x="61" y="49"/>
                  </a:lnTo>
                  <a:lnTo>
                    <a:pt x="64" y="49"/>
                  </a:lnTo>
                  <a:lnTo>
                    <a:pt x="65" y="52"/>
                  </a:lnTo>
                  <a:lnTo>
                    <a:pt x="69" y="57"/>
                  </a:lnTo>
                  <a:lnTo>
                    <a:pt x="69" y="57"/>
                  </a:lnTo>
                  <a:lnTo>
                    <a:pt x="72" y="60"/>
                  </a:lnTo>
                  <a:lnTo>
                    <a:pt x="78" y="62"/>
                  </a:lnTo>
                  <a:lnTo>
                    <a:pt x="85" y="63"/>
                  </a:lnTo>
                  <a:lnTo>
                    <a:pt x="90" y="66"/>
                  </a:lnTo>
                  <a:lnTo>
                    <a:pt x="90" y="66"/>
                  </a:lnTo>
                  <a:lnTo>
                    <a:pt x="94" y="67"/>
                  </a:lnTo>
                  <a:lnTo>
                    <a:pt x="103" y="67"/>
                  </a:lnTo>
                  <a:lnTo>
                    <a:pt x="111" y="66"/>
                  </a:lnTo>
                  <a:lnTo>
                    <a:pt x="116" y="63"/>
                  </a:lnTo>
                  <a:lnTo>
                    <a:pt x="116" y="63"/>
                  </a:lnTo>
                  <a:lnTo>
                    <a:pt x="118" y="60"/>
                  </a:lnTo>
                  <a:lnTo>
                    <a:pt x="118" y="56"/>
                  </a:lnTo>
                  <a:lnTo>
                    <a:pt x="118" y="46"/>
                  </a:lnTo>
                  <a:lnTo>
                    <a:pt x="118" y="46"/>
                  </a:lnTo>
                  <a:lnTo>
                    <a:pt x="118" y="43"/>
                  </a:lnTo>
                  <a:lnTo>
                    <a:pt x="118" y="4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29" name="Freeform 61"/>
            <p:cNvSpPr>
              <a:spLocks/>
            </p:cNvSpPr>
            <p:nvPr/>
          </p:nvSpPr>
          <p:spPr bwMode="auto">
            <a:xfrm>
              <a:off x="6861176" y="3259138"/>
              <a:ext cx="211138" cy="465138"/>
            </a:xfrm>
            <a:custGeom>
              <a:avLst/>
              <a:gdLst>
                <a:gd name="T0" fmla="*/ 105 w 133"/>
                <a:gd name="T1" fmla="*/ 261 h 293"/>
                <a:gd name="T2" fmla="*/ 102 w 133"/>
                <a:gd name="T3" fmla="*/ 246 h 293"/>
                <a:gd name="T4" fmla="*/ 93 w 133"/>
                <a:gd name="T5" fmla="*/ 232 h 293"/>
                <a:gd name="T6" fmla="*/ 91 w 133"/>
                <a:gd name="T7" fmla="*/ 220 h 293"/>
                <a:gd name="T8" fmla="*/ 94 w 133"/>
                <a:gd name="T9" fmla="*/ 209 h 293"/>
                <a:gd name="T10" fmla="*/ 96 w 133"/>
                <a:gd name="T11" fmla="*/ 203 h 293"/>
                <a:gd name="T12" fmla="*/ 93 w 133"/>
                <a:gd name="T13" fmla="*/ 196 h 293"/>
                <a:gd name="T14" fmla="*/ 89 w 133"/>
                <a:gd name="T15" fmla="*/ 189 h 293"/>
                <a:gd name="T16" fmla="*/ 79 w 133"/>
                <a:gd name="T17" fmla="*/ 177 h 293"/>
                <a:gd name="T18" fmla="*/ 86 w 133"/>
                <a:gd name="T19" fmla="*/ 148 h 293"/>
                <a:gd name="T20" fmla="*/ 100 w 133"/>
                <a:gd name="T21" fmla="*/ 146 h 293"/>
                <a:gd name="T22" fmla="*/ 111 w 133"/>
                <a:gd name="T23" fmla="*/ 139 h 293"/>
                <a:gd name="T24" fmla="*/ 119 w 133"/>
                <a:gd name="T25" fmla="*/ 134 h 293"/>
                <a:gd name="T26" fmla="*/ 125 w 133"/>
                <a:gd name="T27" fmla="*/ 128 h 293"/>
                <a:gd name="T28" fmla="*/ 133 w 133"/>
                <a:gd name="T29" fmla="*/ 116 h 293"/>
                <a:gd name="T30" fmla="*/ 132 w 133"/>
                <a:gd name="T31" fmla="*/ 116 h 293"/>
                <a:gd name="T32" fmla="*/ 119 w 133"/>
                <a:gd name="T33" fmla="*/ 117 h 293"/>
                <a:gd name="T34" fmla="*/ 116 w 133"/>
                <a:gd name="T35" fmla="*/ 110 h 293"/>
                <a:gd name="T36" fmla="*/ 107 w 133"/>
                <a:gd name="T37" fmla="*/ 107 h 293"/>
                <a:gd name="T38" fmla="*/ 108 w 133"/>
                <a:gd name="T39" fmla="*/ 95 h 293"/>
                <a:gd name="T40" fmla="*/ 102 w 133"/>
                <a:gd name="T41" fmla="*/ 91 h 293"/>
                <a:gd name="T42" fmla="*/ 97 w 133"/>
                <a:gd name="T43" fmla="*/ 78 h 293"/>
                <a:gd name="T44" fmla="*/ 93 w 133"/>
                <a:gd name="T45" fmla="*/ 74 h 293"/>
                <a:gd name="T46" fmla="*/ 80 w 133"/>
                <a:gd name="T47" fmla="*/ 75 h 293"/>
                <a:gd name="T48" fmla="*/ 80 w 133"/>
                <a:gd name="T49" fmla="*/ 67 h 293"/>
                <a:gd name="T50" fmla="*/ 93 w 133"/>
                <a:gd name="T51" fmla="*/ 45 h 293"/>
                <a:gd name="T52" fmla="*/ 97 w 133"/>
                <a:gd name="T53" fmla="*/ 23 h 293"/>
                <a:gd name="T54" fmla="*/ 93 w 133"/>
                <a:gd name="T55" fmla="*/ 14 h 293"/>
                <a:gd name="T56" fmla="*/ 87 w 133"/>
                <a:gd name="T57" fmla="*/ 11 h 293"/>
                <a:gd name="T58" fmla="*/ 83 w 133"/>
                <a:gd name="T59" fmla="*/ 2 h 293"/>
                <a:gd name="T60" fmla="*/ 75 w 133"/>
                <a:gd name="T61" fmla="*/ 3 h 293"/>
                <a:gd name="T62" fmla="*/ 73 w 133"/>
                <a:gd name="T63" fmla="*/ 6 h 293"/>
                <a:gd name="T64" fmla="*/ 69 w 133"/>
                <a:gd name="T65" fmla="*/ 11 h 293"/>
                <a:gd name="T66" fmla="*/ 72 w 133"/>
                <a:gd name="T67" fmla="*/ 21 h 293"/>
                <a:gd name="T68" fmla="*/ 68 w 133"/>
                <a:gd name="T69" fmla="*/ 23 h 293"/>
                <a:gd name="T70" fmla="*/ 64 w 133"/>
                <a:gd name="T71" fmla="*/ 20 h 293"/>
                <a:gd name="T72" fmla="*/ 46 w 133"/>
                <a:gd name="T73" fmla="*/ 32 h 293"/>
                <a:gd name="T74" fmla="*/ 41 w 133"/>
                <a:gd name="T75" fmla="*/ 45 h 293"/>
                <a:gd name="T76" fmla="*/ 37 w 133"/>
                <a:gd name="T77" fmla="*/ 59 h 293"/>
                <a:gd name="T78" fmla="*/ 32 w 133"/>
                <a:gd name="T79" fmla="*/ 77 h 293"/>
                <a:gd name="T80" fmla="*/ 26 w 133"/>
                <a:gd name="T81" fmla="*/ 78 h 293"/>
                <a:gd name="T82" fmla="*/ 18 w 133"/>
                <a:gd name="T83" fmla="*/ 84 h 293"/>
                <a:gd name="T84" fmla="*/ 15 w 133"/>
                <a:gd name="T85" fmla="*/ 96 h 293"/>
                <a:gd name="T86" fmla="*/ 12 w 133"/>
                <a:gd name="T87" fmla="*/ 109 h 293"/>
                <a:gd name="T88" fmla="*/ 5 w 133"/>
                <a:gd name="T89" fmla="*/ 121 h 293"/>
                <a:gd name="T90" fmla="*/ 5 w 133"/>
                <a:gd name="T91" fmla="*/ 134 h 293"/>
                <a:gd name="T92" fmla="*/ 18 w 133"/>
                <a:gd name="T93" fmla="*/ 143 h 293"/>
                <a:gd name="T94" fmla="*/ 32 w 133"/>
                <a:gd name="T95" fmla="*/ 172 h 293"/>
                <a:gd name="T96" fmla="*/ 32 w 133"/>
                <a:gd name="T97" fmla="*/ 193 h 293"/>
                <a:gd name="T98" fmla="*/ 30 w 133"/>
                <a:gd name="T99" fmla="*/ 203 h 293"/>
                <a:gd name="T100" fmla="*/ 44 w 133"/>
                <a:gd name="T101" fmla="*/ 209 h 293"/>
                <a:gd name="T102" fmla="*/ 55 w 133"/>
                <a:gd name="T103" fmla="*/ 200 h 293"/>
                <a:gd name="T104" fmla="*/ 65 w 133"/>
                <a:gd name="T105" fmla="*/ 189 h 293"/>
                <a:gd name="T106" fmla="*/ 73 w 133"/>
                <a:gd name="T107" fmla="*/ 195 h 293"/>
                <a:gd name="T108" fmla="*/ 79 w 133"/>
                <a:gd name="T109" fmla="*/ 213 h 293"/>
                <a:gd name="T110" fmla="*/ 84 w 133"/>
                <a:gd name="T111" fmla="*/ 243 h 293"/>
                <a:gd name="T112" fmla="*/ 94 w 133"/>
                <a:gd name="T113" fmla="*/ 259 h 293"/>
                <a:gd name="T114" fmla="*/ 93 w 133"/>
                <a:gd name="T115" fmla="*/ 275 h 293"/>
                <a:gd name="T116" fmla="*/ 96 w 133"/>
                <a:gd name="T117" fmla="*/ 289 h 293"/>
                <a:gd name="T118" fmla="*/ 100 w 133"/>
                <a:gd name="T119" fmla="*/ 29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3" h="293">
                  <a:moveTo>
                    <a:pt x="108" y="268"/>
                  </a:moveTo>
                  <a:lnTo>
                    <a:pt x="108" y="268"/>
                  </a:lnTo>
                  <a:lnTo>
                    <a:pt x="107" y="264"/>
                  </a:lnTo>
                  <a:lnTo>
                    <a:pt x="105" y="261"/>
                  </a:lnTo>
                  <a:lnTo>
                    <a:pt x="104" y="259"/>
                  </a:lnTo>
                  <a:lnTo>
                    <a:pt x="102" y="256"/>
                  </a:lnTo>
                  <a:lnTo>
                    <a:pt x="102" y="256"/>
                  </a:lnTo>
                  <a:lnTo>
                    <a:pt x="102" y="246"/>
                  </a:lnTo>
                  <a:lnTo>
                    <a:pt x="100" y="242"/>
                  </a:lnTo>
                  <a:lnTo>
                    <a:pt x="97" y="236"/>
                  </a:lnTo>
                  <a:lnTo>
                    <a:pt x="97" y="236"/>
                  </a:lnTo>
                  <a:lnTo>
                    <a:pt x="93" y="232"/>
                  </a:lnTo>
                  <a:lnTo>
                    <a:pt x="90" y="228"/>
                  </a:lnTo>
                  <a:lnTo>
                    <a:pt x="90" y="224"/>
                  </a:lnTo>
                  <a:lnTo>
                    <a:pt x="91" y="220"/>
                  </a:lnTo>
                  <a:lnTo>
                    <a:pt x="91" y="220"/>
                  </a:lnTo>
                  <a:lnTo>
                    <a:pt x="93" y="217"/>
                  </a:lnTo>
                  <a:lnTo>
                    <a:pt x="93" y="213"/>
                  </a:lnTo>
                  <a:lnTo>
                    <a:pt x="93" y="210"/>
                  </a:lnTo>
                  <a:lnTo>
                    <a:pt x="94" y="209"/>
                  </a:lnTo>
                  <a:lnTo>
                    <a:pt x="94" y="209"/>
                  </a:lnTo>
                  <a:lnTo>
                    <a:pt x="96" y="209"/>
                  </a:lnTo>
                  <a:lnTo>
                    <a:pt x="96" y="206"/>
                  </a:lnTo>
                  <a:lnTo>
                    <a:pt x="96" y="203"/>
                  </a:lnTo>
                  <a:lnTo>
                    <a:pt x="94" y="202"/>
                  </a:lnTo>
                  <a:lnTo>
                    <a:pt x="94" y="202"/>
                  </a:lnTo>
                  <a:lnTo>
                    <a:pt x="93" y="199"/>
                  </a:lnTo>
                  <a:lnTo>
                    <a:pt x="93" y="196"/>
                  </a:lnTo>
                  <a:lnTo>
                    <a:pt x="93" y="193"/>
                  </a:lnTo>
                  <a:lnTo>
                    <a:pt x="91" y="191"/>
                  </a:lnTo>
                  <a:lnTo>
                    <a:pt x="91" y="191"/>
                  </a:lnTo>
                  <a:lnTo>
                    <a:pt x="89" y="189"/>
                  </a:lnTo>
                  <a:lnTo>
                    <a:pt x="84" y="185"/>
                  </a:lnTo>
                  <a:lnTo>
                    <a:pt x="80" y="181"/>
                  </a:lnTo>
                  <a:lnTo>
                    <a:pt x="79" y="177"/>
                  </a:lnTo>
                  <a:lnTo>
                    <a:pt x="79" y="177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84" y="149"/>
                  </a:lnTo>
                  <a:lnTo>
                    <a:pt x="86" y="148"/>
                  </a:lnTo>
                  <a:lnTo>
                    <a:pt x="91" y="148"/>
                  </a:lnTo>
                  <a:lnTo>
                    <a:pt x="91" y="148"/>
                  </a:lnTo>
                  <a:lnTo>
                    <a:pt x="97" y="148"/>
                  </a:lnTo>
                  <a:lnTo>
                    <a:pt x="100" y="146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7" y="141"/>
                  </a:lnTo>
                  <a:lnTo>
                    <a:pt x="111" y="139"/>
                  </a:lnTo>
                  <a:lnTo>
                    <a:pt x="115" y="138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9" y="134"/>
                  </a:lnTo>
                  <a:lnTo>
                    <a:pt x="122" y="132"/>
                  </a:lnTo>
                  <a:lnTo>
                    <a:pt x="125" y="131"/>
                  </a:lnTo>
                  <a:lnTo>
                    <a:pt x="125" y="128"/>
                  </a:lnTo>
                  <a:lnTo>
                    <a:pt x="125" y="128"/>
                  </a:lnTo>
                  <a:lnTo>
                    <a:pt x="126" y="125"/>
                  </a:lnTo>
                  <a:lnTo>
                    <a:pt x="129" y="121"/>
                  </a:lnTo>
                  <a:lnTo>
                    <a:pt x="133" y="116"/>
                  </a:lnTo>
                  <a:lnTo>
                    <a:pt x="133" y="116"/>
                  </a:lnTo>
                  <a:lnTo>
                    <a:pt x="133" y="116"/>
                  </a:lnTo>
                  <a:lnTo>
                    <a:pt x="133" y="116"/>
                  </a:lnTo>
                  <a:lnTo>
                    <a:pt x="133" y="116"/>
                  </a:lnTo>
                  <a:lnTo>
                    <a:pt x="132" y="116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2" y="118"/>
                  </a:lnTo>
                  <a:lnTo>
                    <a:pt x="119" y="117"/>
                  </a:lnTo>
                  <a:lnTo>
                    <a:pt x="116" y="116"/>
                  </a:lnTo>
                  <a:lnTo>
                    <a:pt x="116" y="111"/>
                  </a:lnTo>
                  <a:lnTo>
                    <a:pt x="116" y="111"/>
                  </a:lnTo>
                  <a:lnTo>
                    <a:pt x="116" y="110"/>
                  </a:lnTo>
                  <a:lnTo>
                    <a:pt x="114" y="109"/>
                  </a:lnTo>
                  <a:lnTo>
                    <a:pt x="108" y="107"/>
                  </a:lnTo>
                  <a:lnTo>
                    <a:pt x="108" y="107"/>
                  </a:lnTo>
                  <a:lnTo>
                    <a:pt x="107" y="107"/>
                  </a:lnTo>
                  <a:lnTo>
                    <a:pt x="107" y="104"/>
                  </a:lnTo>
                  <a:lnTo>
                    <a:pt x="108" y="98"/>
                  </a:lnTo>
                  <a:lnTo>
                    <a:pt x="108" y="98"/>
                  </a:lnTo>
                  <a:lnTo>
                    <a:pt x="108" y="95"/>
                  </a:lnTo>
                  <a:lnTo>
                    <a:pt x="108" y="92"/>
                  </a:lnTo>
                  <a:lnTo>
                    <a:pt x="105" y="91"/>
                  </a:lnTo>
                  <a:lnTo>
                    <a:pt x="102" y="91"/>
                  </a:lnTo>
                  <a:lnTo>
                    <a:pt x="102" y="91"/>
                  </a:lnTo>
                  <a:lnTo>
                    <a:pt x="100" y="89"/>
                  </a:lnTo>
                  <a:lnTo>
                    <a:pt x="97" y="85"/>
                  </a:lnTo>
                  <a:lnTo>
                    <a:pt x="97" y="81"/>
                  </a:lnTo>
                  <a:lnTo>
                    <a:pt x="97" y="78"/>
                  </a:lnTo>
                  <a:lnTo>
                    <a:pt x="97" y="78"/>
                  </a:lnTo>
                  <a:lnTo>
                    <a:pt x="97" y="77"/>
                  </a:lnTo>
                  <a:lnTo>
                    <a:pt x="97" y="75"/>
                  </a:lnTo>
                  <a:lnTo>
                    <a:pt x="93" y="74"/>
                  </a:lnTo>
                  <a:lnTo>
                    <a:pt x="87" y="74"/>
                  </a:lnTo>
                  <a:lnTo>
                    <a:pt x="83" y="75"/>
                  </a:lnTo>
                  <a:lnTo>
                    <a:pt x="83" y="75"/>
                  </a:lnTo>
                  <a:lnTo>
                    <a:pt x="80" y="75"/>
                  </a:lnTo>
                  <a:lnTo>
                    <a:pt x="80" y="73"/>
                  </a:lnTo>
                  <a:lnTo>
                    <a:pt x="80" y="70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3"/>
                  </a:lnTo>
                  <a:lnTo>
                    <a:pt x="84" y="57"/>
                  </a:lnTo>
                  <a:lnTo>
                    <a:pt x="89" y="50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7" y="41"/>
                  </a:lnTo>
                  <a:lnTo>
                    <a:pt x="97" y="34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18"/>
                  </a:lnTo>
                  <a:lnTo>
                    <a:pt x="96" y="16"/>
                  </a:lnTo>
                  <a:lnTo>
                    <a:pt x="93" y="14"/>
                  </a:lnTo>
                  <a:lnTo>
                    <a:pt x="91" y="14"/>
                  </a:lnTo>
                  <a:lnTo>
                    <a:pt x="91" y="14"/>
                  </a:lnTo>
                  <a:lnTo>
                    <a:pt x="89" y="14"/>
                  </a:lnTo>
                  <a:lnTo>
                    <a:pt x="87" y="11"/>
                  </a:lnTo>
                  <a:lnTo>
                    <a:pt x="87" y="6"/>
                  </a:lnTo>
                  <a:lnTo>
                    <a:pt x="87" y="6"/>
                  </a:lnTo>
                  <a:lnTo>
                    <a:pt x="86" y="3"/>
                  </a:lnTo>
                  <a:lnTo>
                    <a:pt x="83" y="2"/>
                  </a:lnTo>
                  <a:lnTo>
                    <a:pt x="80" y="0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3" y="6"/>
                  </a:lnTo>
                  <a:lnTo>
                    <a:pt x="72" y="9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69" y="11"/>
                  </a:lnTo>
                  <a:lnTo>
                    <a:pt x="69" y="14"/>
                  </a:lnTo>
                  <a:lnTo>
                    <a:pt x="71" y="17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3"/>
                  </a:lnTo>
                  <a:lnTo>
                    <a:pt x="73" y="24"/>
                  </a:lnTo>
                  <a:lnTo>
                    <a:pt x="71" y="24"/>
                  </a:lnTo>
                  <a:lnTo>
                    <a:pt x="68" y="23"/>
                  </a:lnTo>
                  <a:lnTo>
                    <a:pt x="65" y="21"/>
                  </a:lnTo>
                  <a:lnTo>
                    <a:pt x="65" y="21"/>
                  </a:lnTo>
                  <a:lnTo>
                    <a:pt x="65" y="20"/>
                  </a:lnTo>
                  <a:lnTo>
                    <a:pt x="64" y="20"/>
                  </a:lnTo>
                  <a:lnTo>
                    <a:pt x="59" y="21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46" y="32"/>
                  </a:lnTo>
                  <a:lnTo>
                    <a:pt x="43" y="35"/>
                  </a:lnTo>
                  <a:lnTo>
                    <a:pt x="41" y="39"/>
                  </a:lnTo>
                  <a:lnTo>
                    <a:pt x="41" y="39"/>
                  </a:lnTo>
                  <a:lnTo>
                    <a:pt x="41" y="45"/>
                  </a:lnTo>
                  <a:lnTo>
                    <a:pt x="39" y="49"/>
                  </a:lnTo>
                  <a:lnTo>
                    <a:pt x="37" y="53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63"/>
                  </a:lnTo>
                  <a:lnTo>
                    <a:pt x="34" y="68"/>
                  </a:lnTo>
                  <a:lnTo>
                    <a:pt x="33" y="74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8"/>
                  </a:lnTo>
                  <a:lnTo>
                    <a:pt x="30" y="78"/>
                  </a:lnTo>
                  <a:lnTo>
                    <a:pt x="26" y="78"/>
                  </a:lnTo>
                  <a:lnTo>
                    <a:pt x="19" y="77"/>
                  </a:lnTo>
                  <a:lnTo>
                    <a:pt x="19" y="77"/>
                  </a:lnTo>
                  <a:lnTo>
                    <a:pt x="19" y="78"/>
                  </a:lnTo>
                  <a:lnTo>
                    <a:pt x="18" y="84"/>
                  </a:lnTo>
                  <a:lnTo>
                    <a:pt x="18" y="88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5" y="96"/>
                  </a:lnTo>
                  <a:lnTo>
                    <a:pt x="15" y="102"/>
                  </a:lnTo>
                  <a:lnTo>
                    <a:pt x="14" y="107"/>
                  </a:lnTo>
                  <a:lnTo>
                    <a:pt x="14" y="109"/>
                  </a:lnTo>
                  <a:lnTo>
                    <a:pt x="12" y="109"/>
                  </a:lnTo>
                  <a:lnTo>
                    <a:pt x="12" y="109"/>
                  </a:lnTo>
                  <a:lnTo>
                    <a:pt x="9" y="110"/>
                  </a:lnTo>
                  <a:lnTo>
                    <a:pt x="7" y="114"/>
                  </a:lnTo>
                  <a:lnTo>
                    <a:pt x="5" y="121"/>
                  </a:lnTo>
                  <a:lnTo>
                    <a:pt x="5" y="121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5" y="134"/>
                  </a:lnTo>
                  <a:lnTo>
                    <a:pt x="9" y="138"/>
                  </a:lnTo>
                  <a:lnTo>
                    <a:pt x="15" y="141"/>
                  </a:lnTo>
                  <a:lnTo>
                    <a:pt x="15" y="141"/>
                  </a:lnTo>
                  <a:lnTo>
                    <a:pt x="18" y="143"/>
                  </a:lnTo>
                  <a:lnTo>
                    <a:pt x="21" y="146"/>
                  </a:lnTo>
                  <a:lnTo>
                    <a:pt x="26" y="154"/>
                  </a:lnTo>
                  <a:lnTo>
                    <a:pt x="29" y="164"/>
                  </a:lnTo>
                  <a:lnTo>
                    <a:pt x="32" y="172"/>
                  </a:lnTo>
                  <a:lnTo>
                    <a:pt x="32" y="172"/>
                  </a:lnTo>
                  <a:lnTo>
                    <a:pt x="33" y="179"/>
                  </a:lnTo>
                  <a:lnTo>
                    <a:pt x="33" y="186"/>
                  </a:lnTo>
                  <a:lnTo>
                    <a:pt x="32" y="193"/>
                  </a:lnTo>
                  <a:lnTo>
                    <a:pt x="30" y="197"/>
                  </a:lnTo>
                  <a:lnTo>
                    <a:pt x="30" y="197"/>
                  </a:lnTo>
                  <a:lnTo>
                    <a:pt x="29" y="200"/>
                  </a:lnTo>
                  <a:lnTo>
                    <a:pt x="30" y="203"/>
                  </a:lnTo>
                  <a:lnTo>
                    <a:pt x="36" y="206"/>
                  </a:lnTo>
                  <a:lnTo>
                    <a:pt x="36" y="206"/>
                  </a:lnTo>
                  <a:lnTo>
                    <a:pt x="40" y="207"/>
                  </a:lnTo>
                  <a:lnTo>
                    <a:pt x="44" y="209"/>
                  </a:lnTo>
                  <a:lnTo>
                    <a:pt x="48" y="207"/>
                  </a:lnTo>
                  <a:lnTo>
                    <a:pt x="51" y="204"/>
                  </a:lnTo>
                  <a:lnTo>
                    <a:pt x="51" y="204"/>
                  </a:lnTo>
                  <a:lnTo>
                    <a:pt x="55" y="200"/>
                  </a:lnTo>
                  <a:lnTo>
                    <a:pt x="59" y="196"/>
                  </a:lnTo>
                  <a:lnTo>
                    <a:pt x="62" y="193"/>
                  </a:lnTo>
                  <a:lnTo>
                    <a:pt x="65" y="189"/>
                  </a:lnTo>
                  <a:lnTo>
                    <a:pt x="65" y="189"/>
                  </a:lnTo>
                  <a:lnTo>
                    <a:pt x="65" y="186"/>
                  </a:lnTo>
                  <a:lnTo>
                    <a:pt x="66" y="186"/>
                  </a:lnTo>
                  <a:lnTo>
                    <a:pt x="68" y="188"/>
                  </a:lnTo>
                  <a:lnTo>
                    <a:pt x="73" y="195"/>
                  </a:lnTo>
                  <a:lnTo>
                    <a:pt x="73" y="195"/>
                  </a:lnTo>
                  <a:lnTo>
                    <a:pt x="75" y="197"/>
                  </a:lnTo>
                  <a:lnTo>
                    <a:pt x="77" y="202"/>
                  </a:lnTo>
                  <a:lnTo>
                    <a:pt x="79" y="213"/>
                  </a:lnTo>
                  <a:lnTo>
                    <a:pt x="79" y="213"/>
                  </a:lnTo>
                  <a:lnTo>
                    <a:pt x="82" y="229"/>
                  </a:lnTo>
                  <a:lnTo>
                    <a:pt x="83" y="239"/>
                  </a:lnTo>
                  <a:lnTo>
                    <a:pt x="84" y="243"/>
                  </a:lnTo>
                  <a:lnTo>
                    <a:pt x="87" y="246"/>
                  </a:lnTo>
                  <a:lnTo>
                    <a:pt x="87" y="246"/>
                  </a:lnTo>
                  <a:lnTo>
                    <a:pt x="91" y="252"/>
                  </a:lnTo>
                  <a:lnTo>
                    <a:pt x="94" y="259"/>
                  </a:lnTo>
                  <a:lnTo>
                    <a:pt x="94" y="265"/>
                  </a:lnTo>
                  <a:lnTo>
                    <a:pt x="93" y="271"/>
                  </a:lnTo>
                  <a:lnTo>
                    <a:pt x="93" y="271"/>
                  </a:lnTo>
                  <a:lnTo>
                    <a:pt x="93" y="275"/>
                  </a:lnTo>
                  <a:lnTo>
                    <a:pt x="94" y="279"/>
                  </a:lnTo>
                  <a:lnTo>
                    <a:pt x="96" y="285"/>
                  </a:lnTo>
                  <a:lnTo>
                    <a:pt x="96" y="289"/>
                  </a:lnTo>
                  <a:lnTo>
                    <a:pt x="96" y="289"/>
                  </a:lnTo>
                  <a:lnTo>
                    <a:pt x="94" y="293"/>
                  </a:lnTo>
                  <a:lnTo>
                    <a:pt x="94" y="293"/>
                  </a:lnTo>
                  <a:lnTo>
                    <a:pt x="97" y="293"/>
                  </a:lnTo>
                  <a:lnTo>
                    <a:pt x="100" y="290"/>
                  </a:lnTo>
                  <a:lnTo>
                    <a:pt x="104" y="281"/>
                  </a:lnTo>
                  <a:lnTo>
                    <a:pt x="108" y="268"/>
                  </a:lnTo>
                  <a:lnTo>
                    <a:pt x="108" y="26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30" name="Freeform 62"/>
            <p:cNvSpPr>
              <a:spLocks/>
            </p:cNvSpPr>
            <p:nvPr/>
          </p:nvSpPr>
          <p:spPr bwMode="auto">
            <a:xfrm>
              <a:off x="6788151" y="3267075"/>
              <a:ext cx="73025" cy="39688"/>
            </a:xfrm>
            <a:custGeom>
              <a:avLst/>
              <a:gdLst>
                <a:gd name="T0" fmla="*/ 46 w 46"/>
                <a:gd name="T1" fmla="*/ 8 h 25"/>
                <a:gd name="T2" fmla="*/ 46 w 46"/>
                <a:gd name="T3" fmla="*/ 8 h 25"/>
                <a:gd name="T4" fmla="*/ 40 w 46"/>
                <a:gd name="T5" fmla="*/ 4 h 25"/>
                <a:gd name="T6" fmla="*/ 36 w 46"/>
                <a:gd name="T7" fmla="*/ 4 h 25"/>
                <a:gd name="T8" fmla="*/ 32 w 46"/>
                <a:gd name="T9" fmla="*/ 4 h 25"/>
                <a:gd name="T10" fmla="*/ 28 w 46"/>
                <a:gd name="T11" fmla="*/ 4 h 25"/>
                <a:gd name="T12" fmla="*/ 28 w 46"/>
                <a:gd name="T13" fmla="*/ 4 h 25"/>
                <a:gd name="T14" fmla="*/ 19 w 46"/>
                <a:gd name="T15" fmla="*/ 0 h 25"/>
                <a:gd name="T16" fmla="*/ 18 w 46"/>
                <a:gd name="T17" fmla="*/ 0 h 25"/>
                <a:gd name="T18" fmla="*/ 15 w 46"/>
                <a:gd name="T19" fmla="*/ 1 h 25"/>
                <a:gd name="T20" fmla="*/ 15 w 46"/>
                <a:gd name="T21" fmla="*/ 1 h 25"/>
                <a:gd name="T22" fmla="*/ 10 w 46"/>
                <a:gd name="T23" fmla="*/ 4 h 25"/>
                <a:gd name="T24" fmla="*/ 7 w 46"/>
                <a:gd name="T25" fmla="*/ 6 h 25"/>
                <a:gd name="T26" fmla="*/ 4 w 46"/>
                <a:gd name="T27" fmla="*/ 11 h 25"/>
                <a:gd name="T28" fmla="*/ 4 w 46"/>
                <a:gd name="T29" fmla="*/ 11 h 25"/>
                <a:gd name="T30" fmla="*/ 0 w 46"/>
                <a:gd name="T31" fmla="*/ 18 h 25"/>
                <a:gd name="T32" fmla="*/ 0 w 46"/>
                <a:gd name="T33" fmla="*/ 18 h 25"/>
                <a:gd name="T34" fmla="*/ 3 w 46"/>
                <a:gd name="T35" fmla="*/ 20 h 25"/>
                <a:gd name="T36" fmla="*/ 4 w 46"/>
                <a:gd name="T37" fmla="*/ 22 h 25"/>
                <a:gd name="T38" fmla="*/ 4 w 46"/>
                <a:gd name="T39" fmla="*/ 22 h 25"/>
                <a:gd name="T40" fmla="*/ 7 w 46"/>
                <a:gd name="T41" fmla="*/ 22 h 25"/>
                <a:gd name="T42" fmla="*/ 8 w 46"/>
                <a:gd name="T43" fmla="*/ 23 h 25"/>
                <a:gd name="T44" fmla="*/ 11 w 46"/>
                <a:gd name="T45" fmla="*/ 23 h 25"/>
                <a:gd name="T46" fmla="*/ 15 w 46"/>
                <a:gd name="T47" fmla="*/ 23 h 25"/>
                <a:gd name="T48" fmla="*/ 15 w 46"/>
                <a:gd name="T49" fmla="*/ 23 h 25"/>
                <a:gd name="T50" fmla="*/ 18 w 46"/>
                <a:gd name="T51" fmla="*/ 23 h 25"/>
                <a:gd name="T52" fmla="*/ 22 w 46"/>
                <a:gd name="T53" fmla="*/ 25 h 25"/>
                <a:gd name="T54" fmla="*/ 25 w 46"/>
                <a:gd name="T55" fmla="*/ 25 h 25"/>
                <a:gd name="T56" fmla="*/ 29 w 46"/>
                <a:gd name="T57" fmla="*/ 25 h 25"/>
                <a:gd name="T58" fmla="*/ 29 w 46"/>
                <a:gd name="T59" fmla="*/ 25 h 25"/>
                <a:gd name="T60" fmla="*/ 35 w 46"/>
                <a:gd name="T61" fmla="*/ 25 h 25"/>
                <a:gd name="T62" fmla="*/ 39 w 46"/>
                <a:gd name="T63" fmla="*/ 25 h 25"/>
                <a:gd name="T64" fmla="*/ 43 w 46"/>
                <a:gd name="T65" fmla="*/ 25 h 25"/>
                <a:gd name="T66" fmla="*/ 46 w 46"/>
                <a:gd name="T67" fmla="*/ 23 h 25"/>
                <a:gd name="T68" fmla="*/ 46 w 46"/>
                <a:gd name="T69" fmla="*/ 23 h 25"/>
                <a:gd name="T70" fmla="*/ 46 w 46"/>
                <a:gd name="T71" fmla="*/ 19 h 25"/>
                <a:gd name="T72" fmla="*/ 46 w 46"/>
                <a:gd name="T73" fmla="*/ 15 h 25"/>
                <a:gd name="T74" fmla="*/ 43 w 46"/>
                <a:gd name="T75" fmla="*/ 9 h 25"/>
                <a:gd name="T76" fmla="*/ 43 w 46"/>
                <a:gd name="T77" fmla="*/ 9 h 25"/>
                <a:gd name="T78" fmla="*/ 46 w 46"/>
                <a:gd name="T79" fmla="*/ 8 h 25"/>
                <a:gd name="T80" fmla="*/ 46 w 46"/>
                <a:gd name="T81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" h="25">
                  <a:moveTo>
                    <a:pt x="46" y="8"/>
                  </a:moveTo>
                  <a:lnTo>
                    <a:pt x="46" y="8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19" y="0"/>
                  </a:lnTo>
                  <a:lnTo>
                    <a:pt x="18" y="0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0" y="4"/>
                  </a:lnTo>
                  <a:lnTo>
                    <a:pt x="7" y="6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3" y="20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7" y="22"/>
                  </a:lnTo>
                  <a:lnTo>
                    <a:pt x="8" y="23"/>
                  </a:lnTo>
                  <a:lnTo>
                    <a:pt x="11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8" y="23"/>
                  </a:lnTo>
                  <a:lnTo>
                    <a:pt x="22" y="25"/>
                  </a:lnTo>
                  <a:lnTo>
                    <a:pt x="25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35" y="25"/>
                  </a:lnTo>
                  <a:lnTo>
                    <a:pt x="39" y="25"/>
                  </a:lnTo>
                  <a:lnTo>
                    <a:pt x="43" y="25"/>
                  </a:lnTo>
                  <a:lnTo>
                    <a:pt x="46" y="23"/>
                  </a:lnTo>
                  <a:lnTo>
                    <a:pt x="46" y="23"/>
                  </a:lnTo>
                  <a:lnTo>
                    <a:pt x="46" y="19"/>
                  </a:lnTo>
                  <a:lnTo>
                    <a:pt x="46" y="15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6" y="8"/>
                  </a:lnTo>
                  <a:lnTo>
                    <a:pt x="46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31" name="Freeform 63"/>
            <p:cNvSpPr>
              <a:spLocks/>
            </p:cNvSpPr>
            <p:nvPr/>
          </p:nvSpPr>
          <p:spPr bwMode="auto">
            <a:xfrm>
              <a:off x="7100888" y="3398838"/>
              <a:ext cx="179388" cy="376238"/>
            </a:xfrm>
            <a:custGeom>
              <a:avLst/>
              <a:gdLst>
                <a:gd name="T0" fmla="*/ 75 w 113"/>
                <a:gd name="T1" fmla="*/ 22 h 237"/>
                <a:gd name="T2" fmla="*/ 71 w 113"/>
                <a:gd name="T3" fmla="*/ 11 h 237"/>
                <a:gd name="T4" fmla="*/ 60 w 113"/>
                <a:gd name="T5" fmla="*/ 5 h 237"/>
                <a:gd name="T6" fmla="*/ 50 w 113"/>
                <a:gd name="T7" fmla="*/ 0 h 237"/>
                <a:gd name="T8" fmla="*/ 40 w 113"/>
                <a:gd name="T9" fmla="*/ 8 h 237"/>
                <a:gd name="T10" fmla="*/ 29 w 113"/>
                <a:gd name="T11" fmla="*/ 10 h 237"/>
                <a:gd name="T12" fmla="*/ 18 w 113"/>
                <a:gd name="T13" fmla="*/ 8 h 237"/>
                <a:gd name="T14" fmla="*/ 14 w 113"/>
                <a:gd name="T15" fmla="*/ 11 h 237"/>
                <a:gd name="T16" fmla="*/ 6 w 113"/>
                <a:gd name="T17" fmla="*/ 10 h 237"/>
                <a:gd name="T18" fmla="*/ 0 w 113"/>
                <a:gd name="T19" fmla="*/ 14 h 237"/>
                <a:gd name="T20" fmla="*/ 7 w 113"/>
                <a:gd name="T21" fmla="*/ 25 h 237"/>
                <a:gd name="T22" fmla="*/ 13 w 113"/>
                <a:gd name="T23" fmla="*/ 35 h 237"/>
                <a:gd name="T24" fmla="*/ 26 w 113"/>
                <a:gd name="T25" fmla="*/ 41 h 237"/>
                <a:gd name="T26" fmla="*/ 35 w 113"/>
                <a:gd name="T27" fmla="*/ 40 h 237"/>
                <a:gd name="T28" fmla="*/ 40 w 113"/>
                <a:gd name="T29" fmla="*/ 51 h 237"/>
                <a:gd name="T30" fmla="*/ 42 w 113"/>
                <a:gd name="T31" fmla="*/ 58 h 237"/>
                <a:gd name="T32" fmla="*/ 31 w 113"/>
                <a:gd name="T33" fmla="*/ 62 h 237"/>
                <a:gd name="T34" fmla="*/ 32 w 113"/>
                <a:gd name="T35" fmla="*/ 66 h 237"/>
                <a:gd name="T36" fmla="*/ 47 w 113"/>
                <a:gd name="T37" fmla="*/ 78 h 237"/>
                <a:gd name="T38" fmla="*/ 54 w 113"/>
                <a:gd name="T39" fmla="*/ 91 h 237"/>
                <a:gd name="T40" fmla="*/ 65 w 113"/>
                <a:gd name="T41" fmla="*/ 104 h 237"/>
                <a:gd name="T42" fmla="*/ 74 w 113"/>
                <a:gd name="T43" fmla="*/ 116 h 237"/>
                <a:gd name="T44" fmla="*/ 83 w 113"/>
                <a:gd name="T45" fmla="*/ 128 h 237"/>
                <a:gd name="T46" fmla="*/ 83 w 113"/>
                <a:gd name="T47" fmla="*/ 148 h 237"/>
                <a:gd name="T48" fmla="*/ 90 w 113"/>
                <a:gd name="T49" fmla="*/ 165 h 237"/>
                <a:gd name="T50" fmla="*/ 82 w 113"/>
                <a:gd name="T51" fmla="*/ 176 h 237"/>
                <a:gd name="T52" fmla="*/ 74 w 113"/>
                <a:gd name="T53" fmla="*/ 187 h 237"/>
                <a:gd name="T54" fmla="*/ 64 w 113"/>
                <a:gd name="T55" fmla="*/ 189 h 237"/>
                <a:gd name="T56" fmla="*/ 60 w 113"/>
                <a:gd name="T57" fmla="*/ 193 h 237"/>
                <a:gd name="T58" fmla="*/ 64 w 113"/>
                <a:gd name="T59" fmla="*/ 202 h 237"/>
                <a:gd name="T60" fmla="*/ 49 w 113"/>
                <a:gd name="T61" fmla="*/ 202 h 237"/>
                <a:gd name="T62" fmla="*/ 44 w 113"/>
                <a:gd name="T63" fmla="*/ 205 h 237"/>
                <a:gd name="T64" fmla="*/ 39 w 113"/>
                <a:gd name="T65" fmla="*/ 214 h 237"/>
                <a:gd name="T66" fmla="*/ 44 w 113"/>
                <a:gd name="T67" fmla="*/ 218 h 237"/>
                <a:gd name="T68" fmla="*/ 39 w 113"/>
                <a:gd name="T69" fmla="*/ 229 h 237"/>
                <a:gd name="T70" fmla="*/ 47 w 113"/>
                <a:gd name="T71" fmla="*/ 236 h 237"/>
                <a:gd name="T72" fmla="*/ 61 w 113"/>
                <a:gd name="T73" fmla="*/ 225 h 237"/>
                <a:gd name="T74" fmla="*/ 64 w 113"/>
                <a:gd name="T75" fmla="*/ 219 h 237"/>
                <a:gd name="T76" fmla="*/ 68 w 113"/>
                <a:gd name="T77" fmla="*/ 211 h 237"/>
                <a:gd name="T78" fmla="*/ 78 w 113"/>
                <a:gd name="T79" fmla="*/ 209 h 237"/>
                <a:gd name="T80" fmla="*/ 100 w 113"/>
                <a:gd name="T81" fmla="*/ 198 h 237"/>
                <a:gd name="T82" fmla="*/ 110 w 113"/>
                <a:gd name="T83" fmla="*/ 186 h 237"/>
                <a:gd name="T84" fmla="*/ 111 w 113"/>
                <a:gd name="T85" fmla="*/ 155 h 237"/>
                <a:gd name="T86" fmla="*/ 103 w 113"/>
                <a:gd name="T87" fmla="*/ 128 h 237"/>
                <a:gd name="T88" fmla="*/ 93 w 113"/>
                <a:gd name="T89" fmla="*/ 116 h 237"/>
                <a:gd name="T90" fmla="*/ 68 w 113"/>
                <a:gd name="T91" fmla="*/ 96 h 237"/>
                <a:gd name="T92" fmla="*/ 61 w 113"/>
                <a:gd name="T93" fmla="*/ 83 h 237"/>
                <a:gd name="T94" fmla="*/ 57 w 113"/>
                <a:gd name="T95" fmla="*/ 68 h 237"/>
                <a:gd name="T96" fmla="*/ 64 w 113"/>
                <a:gd name="T97" fmla="*/ 55 h 237"/>
                <a:gd name="T98" fmla="*/ 68 w 113"/>
                <a:gd name="T99" fmla="*/ 48 h 237"/>
                <a:gd name="T100" fmla="*/ 75 w 113"/>
                <a:gd name="T101" fmla="*/ 40 h 237"/>
                <a:gd name="T102" fmla="*/ 86 w 113"/>
                <a:gd name="T103" fmla="*/ 32 h 237"/>
                <a:gd name="T104" fmla="*/ 85 w 113"/>
                <a:gd name="T105" fmla="*/ 28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3" h="237">
                  <a:moveTo>
                    <a:pt x="85" y="28"/>
                  </a:moveTo>
                  <a:lnTo>
                    <a:pt x="85" y="28"/>
                  </a:lnTo>
                  <a:lnTo>
                    <a:pt x="81" y="26"/>
                  </a:lnTo>
                  <a:lnTo>
                    <a:pt x="75" y="22"/>
                  </a:lnTo>
                  <a:lnTo>
                    <a:pt x="71" y="19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71" y="11"/>
                  </a:lnTo>
                  <a:lnTo>
                    <a:pt x="69" y="8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0" y="5"/>
                  </a:lnTo>
                  <a:lnTo>
                    <a:pt x="56" y="4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0" y="0"/>
                  </a:lnTo>
                  <a:lnTo>
                    <a:pt x="46" y="1"/>
                  </a:lnTo>
                  <a:lnTo>
                    <a:pt x="42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8" y="10"/>
                  </a:lnTo>
                  <a:lnTo>
                    <a:pt x="36" y="10"/>
                  </a:lnTo>
                  <a:lnTo>
                    <a:pt x="33" y="8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5" y="11"/>
                  </a:lnTo>
                  <a:lnTo>
                    <a:pt x="21" y="10"/>
                  </a:lnTo>
                  <a:lnTo>
                    <a:pt x="18" y="8"/>
                  </a:lnTo>
                  <a:lnTo>
                    <a:pt x="17" y="8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4" y="11"/>
                  </a:lnTo>
                  <a:lnTo>
                    <a:pt x="13" y="11"/>
                  </a:lnTo>
                  <a:lnTo>
                    <a:pt x="10" y="11"/>
                  </a:lnTo>
                  <a:lnTo>
                    <a:pt x="7" y="10"/>
                  </a:lnTo>
                  <a:lnTo>
                    <a:pt x="6" y="10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3" y="19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7" y="25"/>
                  </a:lnTo>
                  <a:lnTo>
                    <a:pt x="10" y="28"/>
                  </a:lnTo>
                  <a:lnTo>
                    <a:pt x="13" y="30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5" y="37"/>
                  </a:lnTo>
                  <a:lnTo>
                    <a:pt x="18" y="40"/>
                  </a:lnTo>
                  <a:lnTo>
                    <a:pt x="22" y="41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9" y="40"/>
                  </a:lnTo>
                  <a:lnTo>
                    <a:pt x="32" y="40"/>
                  </a:lnTo>
                  <a:lnTo>
                    <a:pt x="35" y="40"/>
                  </a:lnTo>
                  <a:lnTo>
                    <a:pt x="38" y="44"/>
                  </a:lnTo>
                  <a:lnTo>
                    <a:pt x="38" y="44"/>
                  </a:lnTo>
                  <a:lnTo>
                    <a:pt x="38" y="48"/>
                  </a:lnTo>
                  <a:lnTo>
                    <a:pt x="40" y="51"/>
                  </a:lnTo>
                  <a:lnTo>
                    <a:pt x="42" y="54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2" y="58"/>
                  </a:lnTo>
                  <a:lnTo>
                    <a:pt x="40" y="58"/>
                  </a:lnTo>
                  <a:lnTo>
                    <a:pt x="36" y="60"/>
                  </a:lnTo>
                  <a:lnTo>
                    <a:pt x="33" y="61"/>
                  </a:lnTo>
                  <a:lnTo>
                    <a:pt x="31" y="62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5"/>
                  </a:lnTo>
                  <a:lnTo>
                    <a:pt x="32" y="66"/>
                  </a:lnTo>
                  <a:lnTo>
                    <a:pt x="38" y="71"/>
                  </a:lnTo>
                  <a:lnTo>
                    <a:pt x="44" y="75"/>
                  </a:lnTo>
                  <a:lnTo>
                    <a:pt x="46" y="76"/>
                  </a:lnTo>
                  <a:lnTo>
                    <a:pt x="47" y="78"/>
                  </a:lnTo>
                  <a:lnTo>
                    <a:pt x="47" y="78"/>
                  </a:lnTo>
                  <a:lnTo>
                    <a:pt x="47" y="82"/>
                  </a:lnTo>
                  <a:lnTo>
                    <a:pt x="50" y="84"/>
                  </a:lnTo>
                  <a:lnTo>
                    <a:pt x="54" y="91"/>
                  </a:lnTo>
                  <a:lnTo>
                    <a:pt x="54" y="91"/>
                  </a:lnTo>
                  <a:lnTo>
                    <a:pt x="57" y="96"/>
                  </a:lnTo>
                  <a:lnTo>
                    <a:pt x="61" y="100"/>
                  </a:lnTo>
                  <a:lnTo>
                    <a:pt x="65" y="104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9" y="112"/>
                  </a:lnTo>
                  <a:lnTo>
                    <a:pt x="74" y="116"/>
                  </a:lnTo>
                  <a:lnTo>
                    <a:pt x="81" y="121"/>
                  </a:lnTo>
                  <a:lnTo>
                    <a:pt x="81" y="121"/>
                  </a:lnTo>
                  <a:lnTo>
                    <a:pt x="82" y="123"/>
                  </a:lnTo>
                  <a:lnTo>
                    <a:pt x="83" y="128"/>
                  </a:lnTo>
                  <a:lnTo>
                    <a:pt x="83" y="136"/>
                  </a:lnTo>
                  <a:lnTo>
                    <a:pt x="83" y="136"/>
                  </a:lnTo>
                  <a:lnTo>
                    <a:pt x="83" y="141"/>
                  </a:lnTo>
                  <a:lnTo>
                    <a:pt x="83" y="148"/>
                  </a:lnTo>
                  <a:lnTo>
                    <a:pt x="85" y="155"/>
                  </a:lnTo>
                  <a:lnTo>
                    <a:pt x="89" y="162"/>
                  </a:lnTo>
                  <a:lnTo>
                    <a:pt x="89" y="162"/>
                  </a:lnTo>
                  <a:lnTo>
                    <a:pt x="90" y="165"/>
                  </a:lnTo>
                  <a:lnTo>
                    <a:pt x="90" y="168"/>
                  </a:lnTo>
                  <a:lnTo>
                    <a:pt x="89" y="171"/>
                  </a:lnTo>
                  <a:lnTo>
                    <a:pt x="86" y="173"/>
                  </a:lnTo>
                  <a:lnTo>
                    <a:pt x="82" y="176"/>
                  </a:lnTo>
                  <a:lnTo>
                    <a:pt x="78" y="180"/>
                  </a:lnTo>
                  <a:lnTo>
                    <a:pt x="78" y="180"/>
                  </a:lnTo>
                  <a:lnTo>
                    <a:pt x="75" y="184"/>
                  </a:lnTo>
                  <a:lnTo>
                    <a:pt x="74" y="187"/>
                  </a:lnTo>
                  <a:lnTo>
                    <a:pt x="72" y="189"/>
                  </a:lnTo>
                  <a:lnTo>
                    <a:pt x="71" y="190"/>
                  </a:lnTo>
                  <a:lnTo>
                    <a:pt x="64" y="189"/>
                  </a:lnTo>
                  <a:lnTo>
                    <a:pt x="64" y="189"/>
                  </a:lnTo>
                  <a:lnTo>
                    <a:pt x="60" y="189"/>
                  </a:lnTo>
                  <a:lnTo>
                    <a:pt x="58" y="190"/>
                  </a:lnTo>
                  <a:lnTo>
                    <a:pt x="58" y="191"/>
                  </a:lnTo>
                  <a:lnTo>
                    <a:pt x="60" y="193"/>
                  </a:lnTo>
                  <a:lnTo>
                    <a:pt x="63" y="198"/>
                  </a:lnTo>
                  <a:lnTo>
                    <a:pt x="64" y="201"/>
                  </a:lnTo>
                  <a:lnTo>
                    <a:pt x="64" y="202"/>
                  </a:lnTo>
                  <a:lnTo>
                    <a:pt x="64" y="202"/>
                  </a:lnTo>
                  <a:lnTo>
                    <a:pt x="63" y="204"/>
                  </a:lnTo>
                  <a:lnTo>
                    <a:pt x="60" y="204"/>
                  </a:lnTo>
                  <a:lnTo>
                    <a:pt x="54" y="202"/>
                  </a:lnTo>
                  <a:lnTo>
                    <a:pt x="49" y="202"/>
                  </a:lnTo>
                  <a:lnTo>
                    <a:pt x="46" y="202"/>
                  </a:lnTo>
                  <a:lnTo>
                    <a:pt x="46" y="202"/>
                  </a:lnTo>
                  <a:lnTo>
                    <a:pt x="46" y="202"/>
                  </a:lnTo>
                  <a:lnTo>
                    <a:pt x="44" y="205"/>
                  </a:lnTo>
                  <a:lnTo>
                    <a:pt x="43" y="207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9" y="214"/>
                  </a:lnTo>
                  <a:lnTo>
                    <a:pt x="43" y="216"/>
                  </a:lnTo>
                  <a:lnTo>
                    <a:pt x="43" y="216"/>
                  </a:lnTo>
                  <a:lnTo>
                    <a:pt x="44" y="216"/>
                  </a:lnTo>
                  <a:lnTo>
                    <a:pt x="44" y="218"/>
                  </a:lnTo>
                  <a:lnTo>
                    <a:pt x="42" y="221"/>
                  </a:lnTo>
                  <a:lnTo>
                    <a:pt x="40" y="225"/>
                  </a:lnTo>
                  <a:lnTo>
                    <a:pt x="39" y="229"/>
                  </a:lnTo>
                  <a:lnTo>
                    <a:pt x="39" y="229"/>
                  </a:lnTo>
                  <a:lnTo>
                    <a:pt x="40" y="234"/>
                  </a:lnTo>
                  <a:lnTo>
                    <a:pt x="42" y="236"/>
                  </a:lnTo>
                  <a:lnTo>
                    <a:pt x="44" y="237"/>
                  </a:lnTo>
                  <a:lnTo>
                    <a:pt x="47" y="236"/>
                  </a:lnTo>
                  <a:lnTo>
                    <a:pt x="47" y="236"/>
                  </a:lnTo>
                  <a:lnTo>
                    <a:pt x="53" y="229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3" y="223"/>
                  </a:lnTo>
                  <a:lnTo>
                    <a:pt x="63" y="222"/>
                  </a:lnTo>
                  <a:lnTo>
                    <a:pt x="63" y="219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7" y="218"/>
                  </a:lnTo>
                  <a:lnTo>
                    <a:pt x="67" y="216"/>
                  </a:lnTo>
                  <a:lnTo>
                    <a:pt x="68" y="211"/>
                  </a:lnTo>
                  <a:lnTo>
                    <a:pt x="68" y="211"/>
                  </a:lnTo>
                  <a:lnTo>
                    <a:pt x="69" y="209"/>
                  </a:lnTo>
                  <a:lnTo>
                    <a:pt x="72" y="208"/>
                  </a:lnTo>
                  <a:lnTo>
                    <a:pt x="78" y="209"/>
                  </a:lnTo>
                  <a:lnTo>
                    <a:pt x="78" y="209"/>
                  </a:lnTo>
                  <a:lnTo>
                    <a:pt x="83" y="208"/>
                  </a:lnTo>
                  <a:lnTo>
                    <a:pt x="88" y="205"/>
                  </a:lnTo>
                  <a:lnTo>
                    <a:pt x="100" y="198"/>
                  </a:lnTo>
                  <a:lnTo>
                    <a:pt x="100" y="198"/>
                  </a:lnTo>
                  <a:lnTo>
                    <a:pt x="104" y="196"/>
                  </a:lnTo>
                  <a:lnTo>
                    <a:pt x="107" y="191"/>
                  </a:lnTo>
                  <a:lnTo>
                    <a:pt x="110" y="186"/>
                  </a:lnTo>
                  <a:lnTo>
                    <a:pt x="113" y="177"/>
                  </a:lnTo>
                  <a:lnTo>
                    <a:pt x="113" y="177"/>
                  </a:lnTo>
                  <a:lnTo>
                    <a:pt x="113" y="166"/>
                  </a:lnTo>
                  <a:lnTo>
                    <a:pt x="111" y="155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107" y="136"/>
                  </a:lnTo>
                  <a:lnTo>
                    <a:pt x="103" y="128"/>
                  </a:lnTo>
                  <a:lnTo>
                    <a:pt x="97" y="121"/>
                  </a:lnTo>
                  <a:lnTo>
                    <a:pt x="94" y="118"/>
                  </a:lnTo>
                  <a:lnTo>
                    <a:pt x="93" y="116"/>
                  </a:lnTo>
                  <a:lnTo>
                    <a:pt x="93" y="116"/>
                  </a:lnTo>
                  <a:lnTo>
                    <a:pt x="89" y="114"/>
                  </a:lnTo>
                  <a:lnTo>
                    <a:pt x="81" y="108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7" y="93"/>
                  </a:lnTo>
                  <a:lnTo>
                    <a:pt x="65" y="90"/>
                  </a:lnTo>
                  <a:lnTo>
                    <a:pt x="64" y="87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58" y="80"/>
                  </a:lnTo>
                  <a:lnTo>
                    <a:pt x="57" y="75"/>
                  </a:lnTo>
                  <a:lnTo>
                    <a:pt x="57" y="68"/>
                  </a:lnTo>
                  <a:lnTo>
                    <a:pt x="57" y="62"/>
                  </a:lnTo>
                  <a:lnTo>
                    <a:pt x="57" y="62"/>
                  </a:lnTo>
                  <a:lnTo>
                    <a:pt x="60" y="58"/>
                  </a:lnTo>
                  <a:lnTo>
                    <a:pt x="64" y="55"/>
                  </a:lnTo>
                  <a:lnTo>
                    <a:pt x="67" y="53"/>
                  </a:lnTo>
                  <a:lnTo>
                    <a:pt x="68" y="50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6"/>
                  </a:lnTo>
                  <a:lnTo>
                    <a:pt x="69" y="43"/>
                  </a:lnTo>
                  <a:lnTo>
                    <a:pt x="71" y="40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8" y="39"/>
                  </a:lnTo>
                  <a:lnTo>
                    <a:pt x="82" y="37"/>
                  </a:lnTo>
                  <a:lnTo>
                    <a:pt x="86" y="32"/>
                  </a:lnTo>
                  <a:lnTo>
                    <a:pt x="86" y="32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5" y="28"/>
                  </a:lnTo>
                  <a:lnTo>
                    <a:pt x="85" y="2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32" name="Freeform 64"/>
            <p:cNvSpPr>
              <a:spLocks/>
            </p:cNvSpPr>
            <p:nvPr/>
          </p:nvSpPr>
          <p:spPr bwMode="auto">
            <a:xfrm>
              <a:off x="7105651" y="3625850"/>
              <a:ext cx="138113" cy="107950"/>
            </a:xfrm>
            <a:custGeom>
              <a:avLst/>
              <a:gdLst>
                <a:gd name="T0" fmla="*/ 43 w 87"/>
                <a:gd name="T1" fmla="*/ 59 h 68"/>
                <a:gd name="T2" fmla="*/ 46 w 87"/>
                <a:gd name="T3" fmla="*/ 59 h 68"/>
                <a:gd name="T4" fmla="*/ 57 w 87"/>
                <a:gd name="T5" fmla="*/ 61 h 68"/>
                <a:gd name="T6" fmla="*/ 61 w 87"/>
                <a:gd name="T7" fmla="*/ 59 h 68"/>
                <a:gd name="T8" fmla="*/ 61 w 87"/>
                <a:gd name="T9" fmla="*/ 58 h 68"/>
                <a:gd name="T10" fmla="*/ 57 w 87"/>
                <a:gd name="T11" fmla="*/ 50 h 68"/>
                <a:gd name="T12" fmla="*/ 55 w 87"/>
                <a:gd name="T13" fmla="*/ 47 h 68"/>
                <a:gd name="T14" fmla="*/ 61 w 87"/>
                <a:gd name="T15" fmla="*/ 46 h 68"/>
                <a:gd name="T16" fmla="*/ 68 w 87"/>
                <a:gd name="T17" fmla="*/ 47 h 68"/>
                <a:gd name="T18" fmla="*/ 71 w 87"/>
                <a:gd name="T19" fmla="*/ 44 h 68"/>
                <a:gd name="T20" fmla="*/ 75 w 87"/>
                <a:gd name="T21" fmla="*/ 37 h 68"/>
                <a:gd name="T22" fmla="*/ 79 w 87"/>
                <a:gd name="T23" fmla="*/ 33 h 68"/>
                <a:gd name="T24" fmla="*/ 86 w 87"/>
                <a:gd name="T25" fmla="*/ 28 h 68"/>
                <a:gd name="T26" fmla="*/ 87 w 87"/>
                <a:gd name="T27" fmla="*/ 22 h 68"/>
                <a:gd name="T28" fmla="*/ 86 w 87"/>
                <a:gd name="T29" fmla="*/ 19 h 68"/>
                <a:gd name="T30" fmla="*/ 82 w 87"/>
                <a:gd name="T31" fmla="*/ 10 h 68"/>
                <a:gd name="T32" fmla="*/ 80 w 87"/>
                <a:gd name="T33" fmla="*/ 0 h 68"/>
                <a:gd name="T34" fmla="*/ 73 w 87"/>
                <a:gd name="T35" fmla="*/ 3 h 68"/>
                <a:gd name="T36" fmla="*/ 69 w 87"/>
                <a:gd name="T37" fmla="*/ 3 h 68"/>
                <a:gd name="T38" fmla="*/ 62 w 87"/>
                <a:gd name="T39" fmla="*/ 1 h 68"/>
                <a:gd name="T40" fmla="*/ 58 w 87"/>
                <a:gd name="T41" fmla="*/ 5 h 68"/>
                <a:gd name="T42" fmla="*/ 58 w 87"/>
                <a:gd name="T43" fmla="*/ 8 h 68"/>
                <a:gd name="T44" fmla="*/ 54 w 87"/>
                <a:gd name="T45" fmla="*/ 11 h 68"/>
                <a:gd name="T46" fmla="*/ 54 w 87"/>
                <a:gd name="T47" fmla="*/ 10 h 68"/>
                <a:gd name="T48" fmla="*/ 51 w 87"/>
                <a:gd name="T49" fmla="*/ 7 h 68"/>
                <a:gd name="T50" fmla="*/ 44 w 87"/>
                <a:gd name="T51" fmla="*/ 4 h 68"/>
                <a:gd name="T52" fmla="*/ 43 w 87"/>
                <a:gd name="T53" fmla="*/ 3 h 68"/>
                <a:gd name="T54" fmla="*/ 35 w 87"/>
                <a:gd name="T55" fmla="*/ 3 h 68"/>
                <a:gd name="T56" fmla="*/ 23 w 87"/>
                <a:gd name="T57" fmla="*/ 3 h 68"/>
                <a:gd name="T58" fmla="*/ 18 w 87"/>
                <a:gd name="T59" fmla="*/ 3 h 68"/>
                <a:gd name="T60" fmla="*/ 7 w 87"/>
                <a:gd name="T61" fmla="*/ 8 h 68"/>
                <a:gd name="T62" fmla="*/ 3 w 87"/>
                <a:gd name="T63" fmla="*/ 14 h 68"/>
                <a:gd name="T64" fmla="*/ 0 w 87"/>
                <a:gd name="T65" fmla="*/ 21 h 68"/>
                <a:gd name="T66" fmla="*/ 3 w 87"/>
                <a:gd name="T67" fmla="*/ 28 h 68"/>
                <a:gd name="T68" fmla="*/ 4 w 87"/>
                <a:gd name="T69" fmla="*/ 32 h 68"/>
                <a:gd name="T70" fmla="*/ 5 w 87"/>
                <a:gd name="T71" fmla="*/ 36 h 68"/>
                <a:gd name="T72" fmla="*/ 5 w 87"/>
                <a:gd name="T73" fmla="*/ 40 h 68"/>
                <a:gd name="T74" fmla="*/ 5 w 87"/>
                <a:gd name="T75" fmla="*/ 40 h 68"/>
                <a:gd name="T76" fmla="*/ 8 w 87"/>
                <a:gd name="T77" fmla="*/ 47 h 68"/>
                <a:gd name="T78" fmla="*/ 10 w 87"/>
                <a:gd name="T79" fmla="*/ 54 h 68"/>
                <a:gd name="T80" fmla="*/ 12 w 87"/>
                <a:gd name="T81" fmla="*/ 57 h 68"/>
                <a:gd name="T82" fmla="*/ 19 w 87"/>
                <a:gd name="T83" fmla="*/ 55 h 68"/>
                <a:gd name="T84" fmla="*/ 19 w 87"/>
                <a:gd name="T85" fmla="*/ 58 h 68"/>
                <a:gd name="T86" fmla="*/ 19 w 87"/>
                <a:gd name="T87" fmla="*/ 64 h 68"/>
                <a:gd name="T88" fmla="*/ 22 w 87"/>
                <a:gd name="T89" fmla="*/ 65 h 68"/>
                <a:gd name="T90" fmla="*/ 29 w 87"/>
                <a:gd name="T91" fmla="*/ 64 h 68"/>
                <a:gd name="T92" fmla="*/ 32 w 87"/>
                <a:gd name="T93" fmla="*/ 65 h 68"/>
                <a:gd name="T94" fmla="*/ 33 w 87"/>
                <a:gd name="T95" fmla="*/ 68 h 68"/>
                <a:gd name="T96" fmla="*/ 40 w 87"/>
                <a:gd name="T97" fmla="*/ 64 h 68"/>
                <a:gd name="T98" fmla="*/ 43 w 87"/>
                <a:gd name="T99" fmla="*/ 5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7" h="68">
                  <a:moveTo>
                    <a:pt x="43" y="59"/>
                  </a:moveTo>
                  <a:lnTo>
                    <a:pt x="43" y="59"/>
                  </a:lnTo>
                  <a:lnTo>
                    <a:pt x="43" y="59"/>
                  </a:lnTo>
                  <a:lnTo>
                    <a:pt x="46" y="59"/>
                  </a:lnTo>
                  <a:lnTo>
                    <a:pt x="51" y="59"/>
                  </a:lnTo>
                  <a:lnTo>
                    <a:pt x="57" y="61"/>
                  </a:lnTo>
                  <a:lnTo>
                    <a:pt x="60" y="61"/>
                  </a:lnTo>
                  <a:lnTo>
                    <a:pt x="61" y="59"/>
                  </a:lnTo>
                  <a:lnTo>
                    <a:pt x="61" y="59"/>
                  </a:lnTo>
                  <a:lnTo>
                    <a:pt x="61" y="58"/>
                  </a:lnTo>
                  <a:lnTo>
                    <a:pt x="60" y="55"/>
                  </a:lnTo>
                  <a:lnTo>
                    <a:pt x="57" y="50"/>
                  </a:lnTo>
                  <a:lnTo>
                    <a:pt x="55" y="48"/>
                  </a:lnTo>
                  <a:lnTo>
                    <a:pt x="55" y="47"/>
                  </a:lnTo>
                  <a:lnTo>
                    <a:pt x="57" y="46"/>
                  </a:lnTo>
                  <a:lnTo>
                    <a:pt x="61" y="46"/>
                  </a:lnTo>
                  <a:lnTo>
                    <a:pt x="61" y="46"/>
                  </a:lnTo>
                  <a:lnTo>
                    <a:pt x="68" y="47"/>
                  </a:lnTo>
                  <a:lnTo>
                    <a:pt x="69" y="46"/>
                  </a:lnTo>
                  <a:lnTo>
                    <a:pt x="71" y="44"/>
                  </a:lnTo>
                  <a:lnTo>
                    <a:pt x="72" y="41"/>
                  </a:lnTo>
                  <a:lnTo>
                    <a:pt x="75" y="37"/>
                  </a:lnTo>
                  <a:lnTo>
                    <a:pt x="75" y="37"/>
                  </a:lnTo>
                  <a:lnTo>
                    <a:pt x="79" y="33"/>
                  </a:lnTo>
                  <a:lnTo>
                    <a:pt x="83" y="30"/>
                  </a:lnTo>
                  <a:lnTo>
                    <a:pt x="86" y="28"/>
                  </a:lnTo>
                  <a:lnTo>
                    <a:pt x="87" y="25"/>
                  </a:lnTo>
                  <a:lnTo>
                    <a:pt x="87" y="22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3" y="15"/>
                  </a:lnTo>
                  <a:lnTo>
                    <a:pt x="82" y="1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8" y="1"/>
                  </a:lnTo>
                  <a:lnTo>
                    <a:pt x="73" y="3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6" y="1"/>
                  </a:lnTo>
                  <a:lnTo>
                    <a:pt x="62" y="1"/>
                  </a:lnTo>
                  <a:lnTo>
                    <a:pt x="60" y="3"/>
                  </a:lnTo>
                  <a:lnTo>
                    <a:pt x="58" y="5"/>
                  </a:lnTo>
                  <a:lnTo>
                    <a:pt x="58" y="5"/>
                  </a:lnTo>
                  <a:lnTo>
                    <a:pt x="58" y="8"/>
                  </a:lnTo>
                  <a:lnTo>
                    <a:pt x="55" y="11"/>
                  </a:lnTo>
                  <a:lnTo>
                    <a:pt x="54" y="11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3" y="8"/>
                  </a:lnTo>
                  <a:lnTo>
                    <a:pt x="51" y="7"/>
                  </a:lnTo>
                  <a:lnTo>
                    <a:pt x="48" y="5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3" y="3"/>
                  </a:lnTo>
                  <a:lnTo>
                    <a:pt x="41" y="1"/>
                  </a:lnTo>
                  <a:lnTo>
                    <a:pt x="35" y="3"/>
                  </a:lnTo>
                  <a:lnTo>
                    <a:pt x="29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18" y="3"/>
                  </a:lnTo>
                  <a:lnTo>
                    <a:pt x="12" y="4"/>
                  </a:lnTo>
                  <a:lnTo>
                    <a:pt x="7" y="8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0" y="18"/>
                  </a:lnTo>
                  <a:lnTo>
                    <a:pt x="0" y="21"/>
                  </a:lnTo>
                  <a:lnTo>
                    <a:pt x="1" y="23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4" y="32"/>
                  </a:lnTo>
                  <a:lnTo>
                    <a:pt x="4" y="34"/>
                  </a:lnTo>
                  <a:lnTo>
                    <a:pt x="5" y="36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8" y="43"/>
                  </a:lnTo>
                  <a:lnTo>
                    <a:pt x="8" y="47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1" y="57"/>
                  </a:lnTo>
                  <a:lnTo>
                    <a:pt x="12" y="57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7"/>
                  </a:lnTo>
                  <a:lnTo>
                    <a:pt x="19" y="58"/>
                  </a:lnTo>
                  <a:lnTo>
                    <a:pt x="18" y="61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22" y="65"/>
                  </a:lnTo>
                  <a:lnTo>
                    <a:pt x="26" y="64"/>
                  </a:lnTo>
                  <a:lnTo>
                    <a:pt x="29" y="64"/>
                  </a:lnTo>
                  <a:lnTo>
                    <a:pt x="30" y="64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40" y="64"/>
                  </a:lnTo>
                  <a:lnTo>
                    <a:pt x="41" y="62"/>
                  </a:lnTo>
                  <a:lnTo>
                    <a:pt x="43" y="59"/>
                  </a:lnTo>
                  <a:lnTo>
                    <a:pt x="43" y="5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33" name="Freeform 65"/>
            <p:cNvSpPr>
              <a:spLocks/>
            </p:cNvSpPr>
            <p:nvPr/>
          </p:nvSpPr>
          <p:spPr bwMode="auto">
            <a:xfrm>
              <a:off x="7050088" y="3421063"/>
              <a:ext cx="182563" cy="222250"/>
            </a:xfrm>
            <a:custGeom>
              <a:avLst/>
              <a:gdLst>
                <a:gd name="T0" fmla="*/ 78 w 115"/>
                <a:gd name="T1" fmla="*/ 62 h 140"/>
                <a:gd name="T2" fmla="*/ 64 w 115"/>
                <a:gd name="T3" fmla="*/ 52 h 140"/>
                <a:gd name="T4" fmla="*/ 63 w 115"/>
                <a:gd name="T5" fmla="*/ 50 h 140"/>
                <a:gd name="T6" fmla="*/ 68 w 115"/>
                <a:gd name="T7" fmla="*/ 46 h 140"/>
                <a:gd name="T8" fmla="*/ 74 w 115"/>
                <a:gd name="T9" fmla="*/ 43 h 140"/>
                <a:gd name="T10" fmla="*/ 72 w 115"/>
                <a:gd name="T11" fmla="*/ 37 h 140"/>
                <a:gd name="T12" fmla="*/ 70 w 115"/>
                <a:gd name="T13" fmla="*/ 30 h 140"/>
                <a:gd name="T14" fmla="*/ 61 w 115"/>
                <a:gd name="T15" fmla="*/ 26 h 140"/>
                <a:gd name="T16" fmla="*/ 54 w 115"/>
                <a:gd name="T17" fmla="*/ 27 h 140"/>
                <a:gd name="T18" fmla="*/ 45 w 115"/>
                <a:gd name="T19" fmla="*/ 21 h 140"/>
                <a:gd name="T20" fmla="*/ 42 w 115"/>
                <a:gd name="T21" fmla="*/ 14 h 140"/>
                <a:gd name="T22" fmla="*/ 38 w 115"/>
                <a:gd name="T23" fmla="*/ 8 h 140"/>
                <a:gd name="T24" fmla="*/ 32 w 115"/>
                <a:gd name="T25" fmla="*/ 0 h 140"/>
                <a:gd name="T26" fmla="*/ 25 w 115"/>
                <a:gd name="T27" fmla="*/ 1 h 140"/>
                <a:gd name="T28" fmla="*/ 22 w 115"/>
                <a:gd name="T29" fmla="*/ 7 h 140"/>
                <a:gd name="T30" fmla="*/ 24 w 115"/>
                <a:gd name="T31" fmla="*/ 12 h 140"/>
                <a:gd name="T32" fmla="*/ 24 w 115"/>
                <a:gd name="T33" fmla="*/ 21 h 140"/>
                <a:gd name="T34" fmla="*/ 20 w 115"/>
                <a:gd name="T35" fmla="*/ 19 h 140"/>
                <a:gd name="T36" fmla="*/ 14 w 115"/>
                <a:gd name="T37" fmla="*/ 14 h 140"/>
                <a:gd name="T38" fmla="*/ 7 w 115"/>
                <a:gd name="T39" fmla="*/ 23 h 140"/>
                <a:gd name="T40" fmla="*/ 6 w 115"/>
                <a:gd name="T41" fmla="*/ 29 h 140"/>
                <a:gd name="T42" fmla="*/ 0 w 115"/>
                <a:gd name="T43" fmla="*/ 32 h 140"/>
                <a:gd name="T44" fmla="*/ 4 w 115"/>
                <a:gd name="T45" fmla="*/ 36 h 140"/>
                <a:gd name="T46" fmla="*/ 6 w 115"/>
                <a:gd name="T47" fmla="*/ 47 h 140"/>
                <a:gd name="T48" fmla="*/ 7 w 115"/>
                <a:gd name="T49" fmla="*/ 48 h 140"/>
                <a:gd name="T50" fmla="*/ 15 w 115"/>
                <a:gd name="T51" fmla="*/ 48 h 140"/>
                <a:gd name="T52" fmla="*/ 17 w 115"/>
                <a:gd name="T53" fmla="*/ 55 h 140"/>
                <a:gd name="T54" fmla="*/ 14 w 115"/>
                <a:gd name="T55" fmla="*/ 66 h 140"/>
                <a:gd name="T56" fmla="*/ 13 w 115"/>
                <a:gd name="T57" fmla="*/ 73 h 140"/>
                <a:gd name="T58" fmla="*/ 10 w 115"/>
                <a:gd name="T59" fmla="*/ 79 h 140"/>
                <a:gd name="T60" fmla="*/ 15 w 115"/>
                <a:gd name="T61" fmla="*/ 80 h 140"/>
                <a:gd name="T62" fmla="*/ 28 w 115"/>
                <a:gd name="T63" fmla="*/ 72 h 140"/>
                <a:gd name="T64" fmla="*/ 36 w 115"/>
                <a:gd name="T65" fmla="*/ 73 h 140"/>
                <a:gd name="T66" fmla="*/ 42 w 115"/>
                <a:gd name="T67" fmla="*/ 73 h 140"/>
                <a:gd name="T68" fmla="*/ 46 w 115"/>
                <a:gd name="T69" fmla="*/ 70 h 140"/>
                <a:gd name="T70" fmla="*/ 57 w 115"/>
                <a:gd name="T71" fmla="*/ 68 h 140"/>
                <a:gd name="T72" fmla="*/ 65 w 115"/>
                <a:gd name="T73" fmla="*/ 76 h 140"/>
                <a:gd name="T74" fmla="*/ 74 w 115"/>
                <a:gd name="T75" fmla="*/ 83 h 140"/>
                <a:gd name="T76" fmla="*/ 72 w 115"/>
                <a:gd name="T77" fmla="*/ 97 h 140"/>
                <a:gd name="T78" fmla="*/ 74 w 115"/>
                <a:gd name="T79" fmla="*/ 100 h 140"/>
                <a:gd name="T80" fmla="*/ 83 w 115"/>
                <a:gd name="T81" fmla="*/ 111 h 140"/>
                <a:gd name="T82" fmla="*/ 83 w 115"/>
                <a:gd name="T83" fmla="*/ 122 h 140"/>
                <a:gd name="T84" fmla="*/ 82 w 115"/>
                <a:gd name="T85" fmla="*/ 134 h 140"/>
                <a:gd name="T86" fmla="*/ 88 w 115"/>
                <a:gd name="T87" fmla="*/ 137 h 140"/>
                <a:gd name="T88" fmla="*/ 89 w 115"/>
                <a:gd name="T89" fmla="*/ 140 h 140"/>
                <a:gd name="T90" fmla="*/ 93 w 115"/>
                <a:gd name="T91" fmla="*/ 134 h 140"/>
                <a:gd name="T92" fmla="*/ 97 w 115"/>
                <a:gd name="T93" fmla="*/ 130 h 140"/>
                <a:gd name="T94" fmla="*/ 104 w 115"/>
                <a:gd name="T95" fmla="*/ 132 h 140"/>
                <a:gd name="T96" fmla="*/ 115 w 115"/>
                <a:gd name="T97" fmla="*/ 129 h 140"/>
                <a:gd name="T98" fmla="*/ 115 w 115"/>
                <a:gd name="T99" fmla="*/ 122 h 140"/>
                <a:gd name="T100" fmla="*/ 113 w 115"/>
                <a:gd name="T101" fmla="*/ 107 h 140"/>
                <a:gd name="T102" fmla="*/ 101 w 115"/>
                <a:gd name="T103" fmla="*/ 98 h 140"/>
                <a:gd name="T104" fmla="*/ 97 w 115"/>
                <a:gd name="T105" fmla="*/ 90 h 140"/>
                <a:gd name="T106" fmla="*/ 86 w 115"/>
                <a:gd name="T107" fmla="*/ 77 h 140"/>
                <a:gd name="T108" fmla="*/ 79 w 115"/>
                <a:gd name="T109" fmla="*/ 68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" h="140">
                  <a:moveTo>
                    <a:pt x="79" y="64"/>
                  </a:moveTo>
                  <a:lnTo>
                    <a:pt x="79" y="64"/>
                  </a:lnTo>
                  <a:lnTo>
                    <a:pt x="78" y="62"/>
                  </a:lnTo>
                  <a:lnTo>
                    <a:pt x="76" y="61"/>
                  </a:lnTo>
                  <a:lnTo>
                    <a:pt x="70" y="57"/>
                  </a:lnTo>
                  <a:lnTo>
                    <a:pt x="64" y="52"/>
                  </a:lnTo>
                  <a:lnTo>
                    <a:pt x="63" y="51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48"/>
                  </a:lnTo>
                  <a:lnTo>
                    <a:pt x="65" y="47"/>
                  </a:lnTo>
                  <a:lnTo>
                    <a:pt x="68" y="46"/>
                  </a:lnTo>
                  <a:lnTo>
                    <a:pt x="72" y="44"/>
                  </a:lnTo>
                  <a:lnTo>
                    <a:pt x="74" y="44"/>
                  </a:lnTo>
                  <a:lnTo>
                    <a:pt x="74" y="43"/>
                  </a:lnTo>
                  <a:lnTo>
                    <a:pt x="74" y="43"/>
                  </a:lnTo>
                  <a:lnTo>
                    <a:pt x="74" y="40"/>
                  </a:lnTo>
                  <a:lnTo>
                    <a:pt x="72" y="37"/>
                  </a:lnTo>
                  <a:lnTo>
                    <a:pt x="70" y="34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67" y="26"/>
                  </a:lnTo>
                  <a:lnTo>
                    <a:pt x="64" y="26"/>
                  </a:lnTo>
                  <a:lnTo>
                    <a:pt x="61" y="26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4" y="27"/>
                  </a:lnTo>
                  <a:lnTo>
                    <a:pt x="50" y="26"/>
                  </a:lnTo>
                  <a:lnTo>
                    <a:pt x="47" y="23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16"/>
                  </a:lnTo>
                  <a:lnTo>
                    <a:pt x="42" y="14"/>
                  </a:lnTo>
                  <a:lnTo>
                    <a:pt x="39" y="11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5" y="5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8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4" y="1"/>
                  </a:lnTo>
                  <a:lnTo>
                    <a:pt x="22" y="4"/>
                  </a:lnTo>
                  <a:lnTo>
                    <a:pt x="22" y="7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4" y="12"/>
                  </a:lnTo>
                  <a:lnTo>
                    <a:pt x="25" y="16"/>
                  </a:lnTo>
                  <a:lnTo>
                    <a:pt x="25" y="21"/>
                  </a:lnTo>
                  <a:lnTo>
                    <a:pt x="24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0" y="19"/>
                  </a:lnTo>
                  <a:lnTo>
                    <a:pt x="18" y="16"/>
                  </a:lnTo>
                  <a:lnTo>
                    <a:pt x="15" y="15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0" y="19"/>
                  </a:lnTo>
                  <a:lnTo>
                    <a:pt x="7" y="23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9"/>
                  </a:lnTo>
                  <a:lnTo>
                    <a:pt x="4" y="29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6"/>
                  </a:lnTo>
                  <a:lnTo>
                    <a:pt x="4" y="39"/>
                  </a:lnTo>
                  <a:lnTo>
                    <a:pt x="4" y="43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7" y="48"/>
                  </a:lnTo>
                  <a:lnTo>
                    <a:pt x="10" y="47"/>
                  </a:lnTo>
                  <a:lnTo>
                    <a:pt x="14" y="47"/>
                  </a:lnTo>
                  <a:lnTo>
                    <a:pt x="15" y="48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7" y="55"/>
                  </a:lnTo>
                  <a:lnTo>
                    <a:pt x="15" y="58"/>
                  </a:lnTo>
                  <a:lnTo>
                    <a:pt x="15" y="62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4" y="70"/>
                  </a:lnTo>
                  <a:lnTo>
                    <a:pt x="13" y="73"/>
                  </a:lnTo>
                  <a:lnTo>
                    <a:pt x="10" y="76"/>
                  </a:lnTo>
                  <a:lnTo>
                    <a:pt x="10" y="79"/>
                  </a:lnTo>
                  <a:lnTo>
                    <a:pt x="10" y="79"/>
                  </a:lnTo>
                  <a:lnTo>
                    <a:pt x="11" y="80"/>
                  </a:lnTo>
                  <a:lnTo>
                    <a:pt x="13" y="82"/>
                  </a:lnTo>
                  <a:lnTo>
                    <a:pt x="15" y="80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8" y="72"/>
                  </a:lnTo>
                  <a:lnTo>
                    <a:pt x="32" y="70"/>
                  </a:lnTo>
                  <a:lnTo>
                    <a:pt x="33" y="72"/>
                  </a:lnTo>
                  <a:lnTo>
                    <a:pt x="36" y="73"/>
                  </a:lnTo>
                  <a:lnTo>
                    <a:pt x="36" y="73"/>
                  </a:lnTo>
                  <a:lnTo>
                    <a:pt x="38" y="75"/>
                  </a:lnTo>
                  <a:lnTo>
                    <a:pt x="42" y="73"/>
                  </a:lnTo>
                  <a:lnTo>
                    <a:pt x="45" y="72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9" y="68"/>
                  </a:lnTo>
                  <a:lnTo>
                    <a:pt x="53" y="68"/>
                  </a:lnTo>
                  <a:lnTo>
                    <a:pt x="57" y="68"/>
                  </a:lnTo>
                  <a:lnTo>
                    <a:pt x="61" y="69"/>
                  </a:lnTo>
                  <a:lnTo>
                    <a:pt x="61" y="69"/>
                  </a:lnTo>
                  <a:lnTo>
                    <a:pt x="65" y="76"/>
                  </a:lnTo>
                  <a:lnTo>
                    <a:pt x="72" y="82"/>
                  </a:lnTo>
                  <a:lnTo>
                    <a:pt x="72" y="82"/>
                  </a:lnTo>
                  <a:lnTo>
                    <a:pt x="74" y="83"/>
                  </a:lnTo>
                  <a:lnTo>
                    <a:pt x="74" y="84"/>
                  </a:lnTo>
                  <a:lnTo>
                    <a:pt x="72" y="91"/>
                  </a:lnTo>
                  <a:lnTo>
                    <a:pt x="72" y="97"/>
                  </a:lnTo>
                  <a:lnTo>
                    <a:pt x="72" y="98"/>
                  </a:lnTo>
                  <a:lnTo>
                    <a:pt x="74" y="100"/>
                  </a:lnTo>
                  <a:lnTo>
                    <a:pt x="74" y="100"/>
                  </a:lnTo>
                  <a:lnTo>
                    <a:pt x="76" y="101"/>
                  </a:lnTo>
                  <a:lnTo>
                    <a:pt x="81" y="105"/>
                  </a:lnTo>
                  <a:lnTo>
                    <a:pt x="83" y="111"/>
                  </a:lnTo>
                  <a:lnTo>
                    <a:pt x="83" y="116"/>
                  </a:lnTo>
                  <a:lnTo>
                    <a:pt x="83" y="116"/>
                  </a:lnTo>
                  <a:lnTo>
                    <a:pt x="83" y="122"/>
                  </a:lnTo>
                  <a:lnTo>
                    <a:pt x="85" y="126"/>
                  </a:lnTo>
                  <a:lnTo>
                    <a:pt x="85" y="130"/>
                  </a:lnTo>
                  <a:lnTo>
                    <a:pt x="82" y="134"/>
                  </a:lnTo>
                  <a:lnTo>
                    <a:pt x="82" y="134"/>
                  </a:lnTo>
                  <a:lnTo>
                    <a:pt x="86" y="136"/>
                  </a:lnTo>
                  <a:lnTo>
                    <a:pt x="88" y="137"/>
                  </a:lnTo>
                  <a:lnTo>
                    <a:pt x="89" y="139"/>
                  </a:lnTo>
                  <a:lnTo>
                    <a:pt x="89" y="139"/>
                  </a:lnTo>
                  <a:lnTo>
                    <a:pt x="89" y="140"/>
                  </a:lnTo>
                  <a:lnTo>
                    <a:pt x="90" y="140"/>
                  </a:lnTo>
                  <a:lnTo>
                    <a:pt x="93" y="137"/>
                  </a:lnTo>
                  <a:lnTo>
                    <a:pt x="93" y="134"/>
                  </a:lnTo>
                  <a:lnTo>
                    <a:pt x="93" y="134"/>
                  </a:lnTo>
                  <a:lnTo>
                    <a:pt x="95" y="132"/>
                  </a:lnTo>
                  <a:lnTo>
                    <a:pt x="97" y="130"/>
                  </a:lnTo>
                  <a:lnTo>
                    <a:pt x="101" y="130"/>
                  </a:lnTo>
                  <a:lnTo>
                    <a:pt x="104" y="132"/>
                  </a:lnTo>
                  <a:lnTo>
                    <a:pt x="104" y="132"/>
                  </a:lnTo>
                  <a:lnTo>
                    <a:pt x="108" y="132"/>
                  </a:lnTo>
                  <a:lnTo>
                    <a:pt x="113" y="130"/>
                  </a:lnTo>
                  <a:lnTo>
                    <a:pt x="115" y="129"/>
                  </a:lnTo>
                  <a:lnTo>
                    <a:pt x="115" y="129"/>
                  </a:lnTo>
                  <a:lnTo>
                    <a:pt x="115" y="122"/>
                  </a:lnTo>
                  <a:lnTo>
                    <a:pt x="115" y="122"/>
                  </a:lnTo>
                  <a:lnTo>
                    <a:pt x="115" y="114"/>
                  </a:lnTo>
                  <a:lnTo>
                    <a:pt x="114" y="109"/>
                  </a:lnTo>
                  <a:lnTo>
                    <a:pt x="113" y="107"/>
                  </a:lnTo>
                  <a:lnTo>
                    <a:pt x="113" y="107"/>
                  </a:lnTo>
                  <a:lnTo>
                    <a:pt x="106" y="102"/>
                  </a:lnTo>
                  <a:lnTo>
                    <a:pt x="101" y="98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7" y="90"/>
                  </a:lnTo>
                  <a:lnTo>
                    <a:pt x="93" y="86"/>
                  </a:lnTo>
                  <a:lnTo>
                    <a:pt x="89" y="82"/>
                  </a:lnTo>
                  <a:lnTo>
                    <a:pt x="86" y="77"/>
                  </a:lnTo>
                  <a:lnTo>
                    <a:pt x="86" y="77"/>
                  </a:lnTo>
                  <a:lnTo>
                    <a:pt x="82" y="70"/>
                  </a:lnTo>
                  <a:lnTo>
                    <a:pt x="79" y="68"/>
                  </a:lnTo>
                  <a:lnTo>
                    <a:pt x="79" y="64"/>
                  </a:lnTo>
                  <a:lnTo>
                    <a:pt x="79" y="6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34" name="Freeform 66"/>
            <p:cNvSpPr>
              <a:spLocks/>
            </p:cNvSpPr>
            <p:nvPr/>
          </p:nvSpPr>
          <p:spPr bwMode="auto">
            <a:xfrm>
              <a:off x="6986588" y="3471863"/>
              <a:ext cx="198438" cy="374650"/>
            </a:xfrm>
            <a:custGeom>
              <a:avLst/>
              <a:gdLst>
                <a:gd name="T0" fmla="*/ 75 w 125"/>
                <a:gd name="T1" fmla="*/ 118 h 236"/>
                <a:gd name="T2" fmla="*/ 82 w 125"/>
                <a:gd name="T3" fmla="*/ 105 h 236"/>
                <a:gd name="T4" fmla="*/ 98 w 125"/>
                <a:gd name="T5" fmla="*/ 100 h 236"/>
                <a:gd name="T6" fmla="*/ 118 w 125"/>
                <a:gd name="T7" fmla="*/ 100 h 236"/>
                <a:gd name="T8" fmla="*/ 122 w 125"/>
                <a:gd name="T9" fmla="*/ 102 h 236"/>
                <a:gd name="T10" fmla="*/ 123 w 125"/>
                <a:gd name="T11" fmla="*/ 84 h 236"/>
                <a:gd name="T12" fmla="*/ 116 w 125"/>
                <a:gd name="T13" fmla="*/ 69 h 236"/>
                <a:gd name="T14" fmla="*/ 112 w 125"/>
                <a:gd name="T15" fmla="*/ 65 h 236"/>
                <a:gd name="T16" fmla="*/ 112 w 125"/>
                <a:gd name="T17" fmla="*/ 50 h 236"/>
                <a:gd name="T18" fmla="*/ 101 w 125"/>
                <a:gd name="T19" fmla="*/ 37 h 236"/>
                <a:gd name="T20" fmla="*/ 86 w 125"/>
                <a:gd name="T21" fmla="*/ 38 h 236"/>
                <a:gd name="T22" fmla="*/ 78 w 125"/>
                <a:gd name="T23" fmla="*/ 43 h 236"/>
                <a:gd name="T24" fmla="*/ 72 w 125"/>
                <a:gd name="T25" fmla="*/ 38 h 236"/>
                <a:gd name="T26" fmla="*/ 55 w 125"/>
                <a:gd name="T27" fmla="*/ 48 h 236"/>
                <a:gd name="T28" fmla="*/ 50 w 125"/>
                <a:gd name="T29" fmla="*/ 47 h 236"/>
                <a:gd name="T30" fmla="*/ 54 w 125"/>
                <a:gd name="T31" fmla="*/ 34 h 236"/>
                <a:gd name="T32" fmla="*/ 57 w 125"/>
                <a:gd name="T33" fmla="*/ 23 h 236"/>
                <a:gd name="T34" fmla="*/ 54 w 125"/>
                <a:gd name="T35" fmla="*/ 15 h 236"/>
                <a:gd name="T36" fmla="*/ 46 w 125"/>
                <a:gd name="T37" fmla="*/ 15 h 236"/>
                <a:gd name="T38" fmla="*/ 44 w 125"/>
                <a:gd name="T39" fmla="*/ 4 h 236"/>
                <a:gd name="T40" fmla="*/ 40 w 125"/>
                <a:gd name="T41" fmla="*/ 0 h 236"/>
                <a:gd name="T42" fmla="*/ 32 w 125"/>
                <a:gd name="T43" fmla="*/ 5 h 236"/>
                <a:gd name="T44" fmla="*/ 21 w 125"/>
                <a:gd name="T45" fmla="*/ 12 h 236"/>
                <a:gd name="T46" fmla="*/ 7 w 125"/>
                <a:gd name="T47" fmla="*/ 14 h 236"/>
                <a:gd name="T48" fmla="*/ 0 w 125"/>
                <a:gd name="T49" fmla="*/ 43 h 236"/>
                <a:gd name="T50" fmla="*/ 10 w 125"/>
                <a:gd name="T51" fmla="*/ 55 h 236"/>
                <a:gd name="T52" fmla="*/ 14 w 125"/>
                <a:gd name="T53" fmla="*/ 62 h 236"/>
                <a:gd name="T54" fmla="*/ 17 w 125"/>
                <a:gd name="T55" fmla="*/ 69 h 236"/>
                <a:gd name="T56" fmla="*/ 15 w 125"/>
                <a:gd name="T57" fmla="*/ 75 h 236"/>
                <a:gd name="T58" fmla="*/ 12 w 125"/>
                <a:gd name="T59" fmla="*/ 86 h 236"/>
                <a:gd name="T60" fmla="*/ 14 w 125"/>
                <a:gd name="T61" fmla="*/ 98 h 236"/>
                <a:gd name="T62" fmla="*/ 23 w 125"/>
                <a:gd name="T63" fmla="*/ 112 h 236"/>
                <a:gd name="T64" fmla="*/ 26 w 125"/>
                <a:gd name="T65" fmla="*/ 127 h 236"/>
                <a:gd name="T66" fmla="*/ 25 w 125"/>
                <a:gd name="T67" fmla="*/ 147 h 236"/>
                <a:gd name="T68" fmla="*/ 15 w 125"/>
                <a:gd name="T69" fmla="*/ 159 h 236"/>
                <a:gd name="T70" fmla="*/ 10 w 125"/>
                <a:gd name="T71" fmla="*/ 195 h 236"/>
                <a:gd name="T72" fmla="*/ 21 w 125"/>
                <a:gd name="T73" fmla="*/ 202 h 236"/>
                <a:gd name="T74" fmla="*/ 37 w 125"/>
                <a:gd name="T75" fmla="*/ 224 h 236"/>
                <a:gd name="T76" fmla="*/ 53 w 125"/>
                <a:gd name="T77" fmla="*/ 229 h 236"/>
                <a:gd name="T78" fmla="*/ 55 w 125"/>
                <a:gd name="T79" fmla="*/ 236 h 236"/>
                <a:gd name="T80" fmla="*/ 67 w 125"/>
                <a:gd name="T81" fmla="*/ 234 h 236"/>
                <a:gd name="T82" fmla="*/ 71 w 125"/>
                <a:gd name="T83" fmla="*/ 229 h 236"/>
                <a:gd name="T84" fmla="*/ 53 w 125"/>
                <a:gd name="T85" fmla="*/ 219 h 236"/>
                <a:gd name="T86" fmla="*/ 44 w 125"/>
                <a:gd name="T87" fmla="*/ 212 h 236"/>
                <a:gd name="T88" fmla="*/ 42 w 125"/>
                <a:gd name="T89" fmla="*/ 197 h 236"/>
                <a:gd name="T90" fmla="*/ 36 w 125"/>
                <a:gd name="T91" fmla="*/ 187 h 236"/>
                <a:gd name="T92" fmla="*/ 26 w 125"/>
                <a:gd name="T93" fmla="*/ 179 h 236"/>
                <a:gd name="T94" fmla="*/ 29 w 125"/>
                <a:gd name="T95" fmla="*/ 154 h 236"/>
                <a:gd name="T96" fmla="*/ 37 w 125"/>
                <a:gd name="T97" fmla="*/ 129 h 236"/>
                <a:gd name="T98" fmla="*/ 36 w 125"/>
                <a:gd name="T99" fmla="*/ 120 h 236"/>
                <a:gd name="T100" fmla="*/ 48 w 125"/>
                <a:gd name="T101" fmla="*/ 116 h 236"/>
                <a:gd name="T102" fmla="*/ 53 w 125"/>
                <a:gd name="T103" fmla="*/ 126 h 236"/>
                <a:gd name="T104" fmla="*/ 68 w 125"/>
                <a:gd name="T105" fmla="*/ 129 h 236"/>
                <a:gd name="T106" fmla="*/ 79 w 125"/>
                <a:gd name="T107" fmla="*/ 137 h 236"/>
                <a:gd name="T108" fmla="*/ 80 w 125"/>
                <a:gd name="T109" fmla="*/ 137 h 236"/>
                <a:gd name="T110" fmla="*/ 78 w 125"/>
                <a:gd name="T111" fmla="*/ 12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5" h="236">
                  <a:moveTo>
                    <a:pt x="78" y="125"/>
                  </a:moveTo>
                  <a:lnTo>
                    <a:pt x="78" y="125"/>
                  </a:lnTo>
                  <a:lnTo>
                    <a:pt x="76" y="120"/>
                  </a:lnTo>
                  <a:lnTo>
                    <a:pt x="75" y="118"/>
                  </a:lnTo>
                  <a:lnTo>
                    <a:pt x="75" y="115"/>
                  </a:lnTo>
                  <a:lnTo>
                    <a:pt x="78" y="111"/>
                  </a:lnTo>
                  <a:lnTo>
                    <a:pt x="78" y="111"/>
                  </a:lnTo>
                  <a:lnTo>
                    <a:pt x="82" y="105"/>
                  </a:lnTo>
                  <a:lnTo>
                    <a:pt x="87" y="101"/>
                  </a:lnTo>
                  <a:lnTo>
                    <a:pt x="93" y="100"/>
                  </a:lnTo>
                  <a:lnTo>
                    <a:pt x="98" y="100"/>
                  </a:lnTo>
                  <a:lnTo>
                    <a:pt x="98" y="100"/>
                  </a:lnTo>
                  <a:lnTo>
                    <a:pt x="104" y="100"/>
                  </a:lnTo>
                  <a:lnTo>
                    <a:pt x="110" y="100"/>
                  </a:lnTo>
                  <a:lnTo>
                    <a:pt x="116" y="98"/>
                  </a:lnTo>
                  <a:lnTo>
                    <a:pt x="118" y="100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5" y="98"/>
                  </a:lnTo>
                  <a:lnTo>
                    <a:pt x="125" y="94"/>
                  </a:lnTo>
                  <a:lnTo>
                    <a:pt x="123" y="90"/>
                  </a:lnTo>
                  <a:lnTo>
                    <a:pt x="123" y="84"/>
                  </a:lnTo>
                  <a:lnTo>
                    <a:pt x="123" y="84"/>
                  </a:lnTo>
                  <a:lnTo>
                    <a:pt x="123" y="79"/>
                  </a:lnTo>
                  <a:lnTo>
                    <a:pt x="121" y="73"/>
                  </a:lnTo>
                  <a:lnTo>
                    <a:pt x="116" y="69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2" y="66"/>
                  </a:lnTo>
                  <a:lnTo>
                    <a:pt x="112" y="65"/>
                  </a:lnTo>
                  <a:lnTo>
                    <a:pt x="112" y="59"/>
                  </a:lnTo>
                  <a:lnTo>
                    <a:pt x="114" y="52"/>
                  </a:lnTo>
                  <a:lnTo>
                    <a:pt x="114" y="51"/>
                  </a:lnTo>
                  <a:lnTo>
                    <a:pt x="112" y="50"/>
                  </a:lnTo>
                  <a:lnTo>
                    <a:pt x="112" y="50"/>
                  </a:lnTo>
                  <a:lnTo>
                    <a:pt x="105" y="44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97" y="36"/>
                  </a:lnTo>
                  <a:lnTo>
                    <a:pt x="93" y="36"/>
                  </a:lnTo>
                  <a:lnTo>
                    <a:pt x="89" y="36"/>
                  </a:lnTo>
                  <a:lnTo>
                    <a:pt x="86" y="38"/>
                  </a:lnTo>
                  <a:lnTo>
                    <a:pt x="86" y="38"/>
                  </a:lnTo>
                  <a:lnTo>
                    <a:pt x="85" y="40"/>
                  </a:lnTo>
                  <a:lnTo>
                    <a:pt x="82" y="41"/>
                  </a:lnTo>
                  <a:lnTo>
                    <a:pt x="78" y="43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3" y="40"/>
                  </a:lnTo>
                  <a:lnTo>
                    <a:pt x="72" y="38"/>
                  </a:lnTo>
                  <a:lnTo>
                    <a:pt x="68" y="40"/>
                  </a:lnTo>
                  <a:lnTo>
                    <a:pt x="65" y="41"/>
                  </a:lnTo>
                  <a:lnTo>
                    <a:pt x="65" y="41"/>
                  </a:lnTo>
                  <a:lnTo>
                    <a:pt x="55" y="48"/>
                  </a:lnTo>
                  <a:lnTo>
                    <a:pt x="53" y="50"/>
                  </a:lnTo>
                  <a:lnTo>
                    <a:pt x="51" y="48"/>
                  </a:lnTo>
                  <a:lnTo>
                    <a:pt x="50" y="47"/>
                  </a:lnTo>
                  <a:lnTo>
                    <a:pt x="50" y="47"/>
                  </a:lnTo>
                  <a:lnTo>
                    <a:pt x="50" y="44"/>
                  </a:lnTo>
                  <a:lnTo>
                    <a:pt x="53" y="41"/>
                  </a:lnTo>
                  <a:lnTo>
                    <a:pt x="54" y="38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5" y="26"/>
                  </a:lnTo>
                  <a:lnTo>
                    <a:pt x="57" y="23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5" y="16"/>
                  </a:lnTo>
                  <a:lnTo>
                    <a:pt x="54" y="15"/>
                  </a:lnTo>
                  <a:lnTo>
                    <a:pt x="50" y="15"/>
                  </a:lnTo>
                  <a:lnTo>
                    <a:pt x="47" y="16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4" y="11"/>
                  </a:lnTo>
                  <a:lnTo>
                    <a:pt x="44" y="7"/>
                  </a:lnTo>
                  <a:lnTo>
                    <a:pt x="44" y="4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9" y="1"/>
                  </a:lnTo>
                  <a:lnTo>
                    <a:pt x="39" y="1"/>
                  </a:lnTo>
                  <a:lnTo>
                    <a:pt x="36" y="4"/>
                  </a:lnTo>
                  <a:lnTo>
                    <a:pt x="32" y="5"/>
                  </a:lnTo>
                  <a:lnTo>
                    <a:pt x="28" y="7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1" y="12"/>
                  </a:lnTo>
                  <a:lnTo>
                    <a:pt x="18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7" y="14"/>
                  </a:lnTo>
                  <a:lnTo>
                    <a:pt x="5" y="15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47"/>
                  </a:lnTo>
                  <a:lnTo>
                    <a:pt x="5" y="51"/>
                  </a:lnTo>
                  <a:lnTo>
                    <a:pt x="10" y="55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4" y="59"/>
                  </a:lnTo>
                  <a:lnTo>
                    <a:pt x="14" y="62"/>
                  </a:lnTo>
                  <a:lnTo>
                    <a:pt x="14" y="65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7" y="69"/>
                  </a:lnTo>
                  <a:lnTo>
                    <a:pt x="17" y="72"/>
                  </a:lnTo>
                  <a:lnTo>
                    <a:pt x="17" y="75"/>
                  </a:lnTo>
                  <a:lnTo>
                    <a:pt x="15" y="75"/>
                  </a:lnTo>
                  <a:lnTo>
                    <a:pt x="15" y="75"/>
                  </a:lnTo>
                  <a:lnTo>
                    <a:pt x="14" y="76"/>
                  </a:lnTo>
                  <a:lnTo>
                    <a:pt x="14" y="79"/>
                  </a:lnTo>
                  <a:lnTo>
                    <a:pt x="14" y="83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1" y="90"/>
                  </a:lnTo>
                  <a:lnTo>
                    <a:pt x="11" y="94"/>
                  </a:lnTo>
                  <a:lnTo>
                    <a:pt x="14" y="98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21" y="108"/>
                  </a:lnTo>
                  <a:lnTo>
                    <a:pt x="23" y="112"/>
                  </a:lnTo>
                  <a:lnTo>
                    <a:pt x="23" y="122"/>
                  </a:lnTo>
                  <a:lnTo>
                    <a:pt x="23" y="122"/>
                  </a:lnTo>
                  <a:lnTo>
                    <a:pt x="25" y="125"/>
                  </a:lnTo>
                  <a:lnTo>
                    <a:pt x="26" y="127"/>
                  </a:lnTo>
                  <a:lnTo>
                    <a:pt x="28" y="130"/>
                  </a:lnTo>
                  <a:lnTo>
                    <a:pt x="29" y="134"/>
                  </a:lnTo>
                  <a:lnTo>
                    <a:pt x="29" y="134"/>
                  </a:lnTo>
                  <a:lnTo>
                    <a:pt x="25" y="147"/>
                  </a:lnTo>
                  <a:lnTo>
                    <a:pt x="21" y="156"/>
                  </a:lnTo>
                  <a:lnTo>
                    <a:pt x="18" y="159"/>
                  </a:lnTo>
                  <a:lnTo>
                    <a:pt x="15" y="159"/>
                  </a:lnTo>
                  <a:lnTo>
                    <a:pt x="15" y="159"/>
                  </a:lnTo>
                  <a:lnTo>
                    <a:pt x="11" y="183"/>
                  </a:lnTo>
                  <a:lnTo>
                    <a:pt x="11" y="183"/>
                  </a:lnTo>
                  <a:lnTo>
                    <a:pt x="10" y="193"/>
                  </a:lnTo>
                  <a:lnTo>
                    <a:pt x="10" y="195"/>
                  </a:lnTo>
                  <a:lnTo>
                    <a:pt x="12" y="197"/>
                  </a:lnTo>
                  <a:lnTo>
                    <a:pt x="12" y="197"/>
                  </a:lnTo>
                  <a:lnTo>
                    <a:pt x="15" y="198"/>
                  </a:lnTo>
                  <a:lnTo>
                    <a:pt x="21" y="202"/>
                  </a:lnTo>
                  <a:lnTo>
                    <a:pt x="33" y="216"/>
                  </a:lnTo>
                  <a:lnTo>
                    <a:pt x="33" y="216"/>
                  </a:lnTo>
                  <a:lnTo>
                    <a:pt x="37" y="224"/>
                  </a:lnTo>
                  <a:lnTo>
                    <a:pt x="37" y="224"/>
                  </a:lnTo>
                  <a:lnTo>
                    <a:pt x="46" y="224"/>
                  </a:lnTo>
                  <a:lnTo>
                    <a:pt x="46" y="224"/>
                  </a:lnTo>
                  <a:lnTo>
                    <a:pt x="50" y="226"/>
                  </a:lnTo>
                  <a:lnTo>
                    <a:pt x="53" y="229"/>
                  </a:lnTo>
                  <a:lnTo>
                    <a:pt x="54" y="231"/>
                  </a:lnTo>
                  <a:lnTo>
                    <a:pt x="54" y="234"/>
                  </a:lnTo>
                  <a:lnTo>
                    <a:pt x="54" y="234"/>
                  </a:lnTo>
                  <a:lnTo>
                    <a:pt x="55" y="236"/>
                  </a:lnTo>
                  <a:lnTo>
                    <a:pt x="60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7" y="234"/>
                  </a:lnTo>
                  <a:lnTo>
                    <a:pt x="68" y="233"/>
                  </a:lnTo>
                  <a:lnTo>
                    <a:pt x="68" y="231"/>
                  </a:lnTo>
                  <a:lnTo>
                    <a:pt x="71" y="229"/>
                  </a:lnTo>
                  <a:lnTo>
                    <a:pt x="71" y="229"/>
                  </a:lnTo>
                  <a:lnTo>
                    <a:pt x="68" y="226"/>
                  </a:lnTo>
                  <a:lnTo>
                    <a:pt x="64" y="223"/>
                  </a:lnTo>
                  <a:lnTo>
                    <a:pt x="58" y="220"/>
                  </a:lnTo>
                  <a:lnTo>
                    <a:pt x="53" y="219"/>
                  </a:lnTo>
                  <a:lnTo>
                    <a:pt x="53" y="219"/>
                  </a:lnTo>
                  <a:lnTo>
                    <a:pt x="50" y="218"/>
                  </a:lnTo>
                  <a:lnTo>
                    <a:pt x="48" y="216"/>
                  </a:lnTo>
                  <a:lnTo>
                    <a:pt x="44" y="212"/>
                  </a:lnTo>
                  <a:lnTo>
                    <a:pt x="43" y="206"/>
                  </a:lnTo>
                  <a:lnTo>
                    <a:pt x="43" y="201"/>
                  </a:lnTo>
                  <a:lnTo>
                    <a:pt x="43" y="201"/>
                  </a:lnTo>
                  <a:lnTo>
                    <a:pt x="42" y="197"/>
                  </a:lnTo>
                  <a:lnTo>
                    <a:pt x="40" y="194"/>
                  </a:lnTo>
                  <a:lnTo>
                    <a:pt x="37" y="190"/>
                  </a:lnTo>
                  <a:lnTo>
                    <a:pt x="36" y="187"/>
                  </a:lnTo>
                  <a:lnTo>
                    <a:pt x="36" y="187"/>
                  </a:lnTo>
                  <a:lnTo>
                    <a:pt x="36" y="184"/>
                  </a:lnTo>
                  <a:lnTo>
                    <a:pt x="33" y="181"/>
                  </a:lnTo>
                  <a:lnTo>
                    <a:pt x="26" y="179"/>
                  </a:lnTo>
                  <a:lnTo>
                    <a:pt x="26" y="179"/>
                  </a:lnTo>
                  <a:lnTo>
                    <a:pt x="25" y="177"/>
                  </a:lnTo>
                  <a:lnTo>
                    <a:pt x="25" y="175"/>
                  </a:lnTo>
                  <a:lnTo>
                    <a:pt x="25" y="168"/>
                  </a:lnTo>
                  <a:lnTo>
                    <a:pt x="29" y="154"/>
                  </a:lnTo>
                  <a:lnTo>
                    <a:pt x="29" y="154"/>
                  </a:lnTo>
                  <a:lnTo>
                    <a:pt x="30" y="147"/>
                  </a:lnTo>
                  <a:lnTo>
                    <a:pt x="35" y="138"/>
                  </a:lnTo>
                  <a:lnTo>
                    <a:pt x="37" y="129"/>
                  </a:lnTo>
                  <a:lnTo>
                    <a:pt x="37" y="125"/>
                  </a:lnTo>
                  <a:lnTo>
                    <a:pt x="37" y="122"/>
                  </a:lnTo>
                  <a:lnTo>
                    <a:pt x="37" y="122"/>
                  </a:lnTo>
                  <a:lnTo>
                    <a:pt x="36" y="120"/>
                  </a:lnTo>
                  <a:lnTo>
                    <a:pt x="37" y="118"/>
                  </a:lnTo>
                  <a:lnTo>
                    <a:pt x="42" y="115"/>
                  </a:lnTo>
                  <a:lnTo>
                    <a:pt x="47" y="115"/>
                  </a:lnTo>
                  <a:lnTo>
                    <a:pt x="48" y="116"/>
                  </a:lnTo>
                  <a:lnTo>
                    <a:pt x="50" y="118"/>
                  </a:lnTo>
                  <a:lnTo>
                    <a:pt x="50" y="118"/>
                  </a:lnTo>
                  <a:lnTo>
                    <a:pt x="51" y="123"/>
                  </a:lnTo>
                  <a:lnTo>
                    <a:pt x="53" y="126"/>
                  </a:lnTo>
                  <a:lnTo>
                    <a:pt x="57" y="127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68" y="129"/>
                  </a:lnTo>
                  <a:lnTo>
                    <a:pt x="71" y="131"/>
                  </a:lnTo>
                  <a:lnTo>
                    <a:pt x="75" y="134"/>
                  </a:lnTo>
                  <a:lnTo>
                    <a:pt x="79" y="137"/>
                  </a:lnTo>
                  <a:lnTo>
                    <a:pt x="79" y="137"/>
                  </a:lnTo>
                  <a:lnTo>
                    <a:pt x="80" y="137"/>
                  </a:lnTo>
                  <a:lnTo>
                    <a:pt x="80" y="137"/>
                  </a:lnTo>
                  <a:lnTo>
                    <a:pt x="80" y="137"/>
                  </a:lnTo>
                  <a:lnTo>
                    <a:pt x="80" y="137"/>
                  </a:lnTo>
                  <a:lnTo>
                    <a:pt x="80" y="133"/>
                  </a:lnTo>
                  <a:lnTo>
                    <a:pt x="79" y="131"/>
                  </a:lnTo>
                  <a:lnTo>
                    <a:pt x="79" y="129"/>
                  </a:lnTo>
                  <a:lnTo>
                    <a:pt x="78" y="125"/>
                  </a:lnTo>
                  <a:lnTo>
                    <a:pt x="78" y="12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35" name="Freeform 94"/>
            <p:cNvSpPr>
              <a:spLocks noEditPoints="1"/>
            </p:cNvSpPr>
            <p:nvPr/>
          </p:nvSpPr>
          <p:spPr bwMode="auto">
            <a:xfrm>
              <a:off x="7045326" y="3824288"/>
              <a:ext cx="481013" cy="147638"/>
            </a:xfrm>
            <a:custGeom>
              <a:avLst/>
              <a:gdLst>
                <a:gd name="T0" fmla="*/ 53 w 303"/>
                <a:gd name="T1" fmla="*/ 27 h 93"/>
                <a:gd name="T2" fmla="*/ 43 w 303"/>
                <a:gd name="T3" fmla="*/ 18 h 93"/>
                <a:gd name="T4" fmla="*/ 35 w 303"/>
                <a:gd name="T5" fmla="*/ 9 h 93"/>
                <a:gd name="T6" fmla="*/ 31 w 303"/>
                <a:gd name="T7" fmla="*/ 9 h 93"/>
                <a:gd name="T8" fmla="*/ 30 w 303"/>
                <a:gd name="T9" fmla="*/ 14 h 93"/>
                <a:gd name="T10" fmla="*/ 17 w 303"/>
                <a:gd name="T11" fmla="*/ 12 h 93"/>
                <a:gd name="T12" fmla="*/ 9 w 303"/>
                <a:gd name="T13" fmla="*/ 2 h 93"/>
                <a:gd name="T14" fmla="*/ 3 w 303"/>
                <a:gd name="T15" fmla="*/ 8 h 93"/>
                <a:gd name="T16" fmla="*/ 6 w 303"/>
                <a:gd name="T17" fmla="*/ 30 h 93"/>
                <a:gd name="T18" fmla="*/ 21 w 303"/>
                <a:gd name="T19" fmla="*/ 57 h 93"/>
                <a:gd name="T20" fmla="*/ 35 w 303"/>
                <a:gd name="T21" fmla="*/ 71 h 93"/>
                <a:gd name="T22" fmla="*/ 66 w 303"/>
                <a:gd name="T23" fmla="*/ 86 h 93"/>
                <a:gd name="T24" fmla="*/ 64 w 303"/>
                <a:gd name="T25" fmla="*/ 76 h 93"/>
                <a:gd name="T26" fmla="*/ 53 w 303"/>
                <a:gd name="T27" fmla="*/ 61 h 93"/>
                <a:gd name="T28" fmla="*/ 55 w 303"/>
                <a:gd name="T29" fmla="*/ 33 h 93"/>
                <a:gd name="T30" fmla="*/ 279 w 303"/>
                <a:gd name="T31" fmla="*/ 15 h 93"/>
                <a:gd name="T32" fmla="*/ 277 w 303"/>
                <a:gd name="T33" fmla="*/ 8 h 93"/>
                <a:gd name="T34" fmla="*/ 264 w 303"/>
                <a:gd name="T35" fmla="*/ 0 h 93"/>
                <a:gd name="T36" fmla="*/ 252 w 303"/>
                <a:gd name="T37" fmla="*/ 16 h 93"/>
                <a:gd name="T38" fmla="*/ 243 w 303"/>
                <a:gd name="T39" fmla="*/ 23 h 93"/>
                <a:gd name="T40" fmla="*/ 242 w 303"/>
                <a:gd name="T41" fmla="*/ 29 h 93"/>
                <a:gd name="T42" fmla="*/ 241 w 303"/>
                <a:gd name="T43" fmla="*/ 40 h 93"/>
                <a:gd name="T44" fmla="*/ 235 w 303"/>
                <a:gd name="T45" fmla="*/ 41 h 93"/>
                <a:gd name="T46" fmla="*/ 228 w 303"/>
                <a:gd name="T47" fmla="*/ 43 h 93"/>
                <a:gd name="T48" fmla="*/ 221 w 303"/>
                <a:gd name="T49" fmla="*/ 33 h 93"/>
                <a:gd name="T50" fmla="*/ 209 w 303"/>
                <a:gd name="T51" fmla="*/ 47 h 93"/>
                <a:gd name="T52" fmla="*/ 204 w 303"/>
                <a:gd name="T53" fmla="*/ 59 h 93"/>
                <a:gd name="T54" fmla="*/ 179 w 303"/>
                <a:gd name="T55" fmla="*/ 62 h 93"/>
                <a:gd name="T56" fmla="*/ 175 w 303"/>
                <a:gd name="T57" fmla="*/ 76 h 93"/>
                <a:gd name="T58" fmla="*/ 170 w 303"/>
                <a:gd name="T59" fmla="*/ 83 h 93"/>
                <a:gd name="T60" fmla="*/ 150 w 303"/>
                <a:gd name="T61" fmla="*/ 75 h 93"/>
                <a:gd name="T62" fmla="*/ 156 w 303"/>
                <a:gd name="T63" fmla="*/ 86 h 93"/>
                <a:gd name="T64" fmla="*/ 167 w 303"/>
                <a:gd name="T65" fmla="*/ 93 h 93"/>
                <a:gd name="T66" fmla="*/ 178 w 303"/>
                <a:gd name="T67" fmla="*/ 90 h 93"/>
                <a:gd name="T68" fmla="*/ 192 w 303"/>
                <a:gd name="T69" fmla="*/ 89 h 93"/>
                <a:gd name="T70" fmla="*/ 204 w 303"/>
                <a:gd name="T71" fmla="*/ 83 h 93"/>
                <a:gd name="T72" fmla="*/ 220 w 303"/>
                <a:gd name="T73" fmla="*/ 86 h 93"/>
                <a:gd name="T74" fmla="*/ 232 w 303"/>
                <a:gd name="T75" fmla="*/ 82 h 93"/>
                <a:gd name="T76" fmla="*/ 235 w 303"/>
                <a:gd name="T77" fmla="*/ 69 h 93"/>
                <a:gd name="T78" fmla="*/ 238 w 303"/>
                <a:gd name="T79" fmla="*/ 59 h 93"/>
                <a:gd name="T80" fmla="*/ 246 w 303"/>
                <a:gd name="T81" fmla="*/ 52 h 93"/>
                <a:gd name="T82" fmla="*/ 249 w 303"/>
                <a:gd name="T83" fmla="*/ 41 h 93"/>
                <a:gd name="T84" fmla="*/ 271 w 303"/>
                <a:gd name="T85" fmla="*/ 39 h 93"/>
                <a:gd name="T86" fmla="*/ 286 w 303"/>
                <a:gd name="T87" fmla="*/ 36 h 93"/>
                <a:gd name="T88" fmla="*/ 288 w 303"/>
                <a:gd name="T89" fmla="*/ 32 h 93"/>
                <a:gd name="T90" fmla="*/ 299 w 303"/>
                <a:gd name="T91" fmla="*/ 27 h 93"/>
                <a:gd name="T92" fmla="*/ 303 w 303"/>
                <a:gd name="T93" fmla="*/ 23 h 93"/>
                <a:gd name="T94" fmla="*/ 292 w 303"/>
                <a:gd name="T95" fmla="*/ 1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03" h="93">
                  <a:moveTo>
                    <a:pt x="55" y="33"/>
                  </a:moveTo>
                  <a:lnTo>
                    <a:pt x="55" y="33"/>
                  </a:lnTo>
                  <a:lnTo>
                    <a:pt x="55" y="30"/>
                  </a:lnTo>
                  <a:lnTo>
                    <a:pt x="53" y="27"/>
                  </a:lnTo>
                  <a:lnTo>
                    <a:pt x="50" y="25"/>
                  </a:lnTo>
                  <a:lnTo>
                    <a:pt x="46" y="22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1" y="14"/>
                  </a:lnTo>
                  <a:lnTo>
                    <a:pt x="39" y="12"/>
                  </a:lnTo>
                  <a:lnTo>
                    <a:pt x="36" y="12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1" y="9"/>
                  </a:lnTo>
                  <a:lnTo>
                    <a:pt x="31" y="11"/>
                  </a:lnTo>
                  <a:lnTo>
                    <a:pt x="30" y="12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23" y="14"/>
                  </a:lnTo>
                  <a:lnTo>
                    <a:pt x="18" y="14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9"/>
                  </a:lnTo>
                  <a:lnTo>
                    <a:pt x="16" y="7"/>
                  </a:lnTo>
                  <a:lnTo>
                    <a:pt x="13" y="4"/>
                  </a:lnTo>
                  <a:lnTo>
                    <a:pt x="9" y="2"/>
                  </a:lnTo>
                  <a:lnTo>
                    <a:pt x="9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3" y="8"/>
                  </a:lnTo>
                  <a:lnTo>
                    <a:pt x="3" y="15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6" y="30"/>
                  </a:lnTo>
                  <a:lnTo>
                    <a:pt x="7" y="34"/>
                  </a:lnTo>
                  <a:lnTo>
                    <a:pt x="11" y="43"/>
                  </a:lnTo>
                  <a:lnTo>
                    <a:pt x="17" y="50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3" y="61"/>
                  </a:lnTo>
                  <a:lnTo>
                    <a:pt x="25" y="64"/>
                  </a:lnTo>
                  <a:lnTo>
                    <a:pt x="35" y="71"/>
                  </a:lnTo>
                  <a:lnTo>
                    <a:pt x="35" y="71"/>
                  </a:lnTo>
                  <a:lnTo>
                    <a:pt x="53" y="82"/>
                  </a:lnTo>
                  <a:lnTo>
                    <a:pt x="61" y="84"/>
                  </a:lnTo>
                  <a:lnTo>
                    <a:pt x="66" y="86"/>
                  </a:lnTo>
                  <a:lnTo>
                    <a:pt x="66" y="86"/>
                  </a:lnTo>
                  <a:lnTo>
                    <a:pt x="67" y="84"/>
                  </a:lnTo>
                  <a:lnTo>
                    <a:pt x="66" y="83"/>
                  </a:lnTo>
                  <a:lnTo>
                    <a:pt x="64" y="76"/>
                  </a:lnTo>
                  <a:lnTo>
                    <a:pt x="60" y="69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3" y="61"/>
                  </a:lnTo>
                  <a:lnTo>
                    <a:pt x="53" y="58"/>
                  </a:lnTo>
                  <a:lnTo>
                    <a:pt x="53" y="51"/>
                  </a:lnTo>
                  <a:lnTo>
                    <a:pt x="55" y="33"/>
                  </a:lnTo>
                  <a:lnTo>
                    <a:pt x="55" y="33"/>
                  </a:lnTo>
                  <a:close/>
                  <a:moveTo>
                    <a:pt x="292" y="16"/>
                  </a:moveTo>
                  <a:lnTo>
                    <a:pt x="292" y="16"/>
                  </a:lnTo>
                  <a:lnTo>
                    <a:pt x="284" y="16"/>
                  </a:lnTo>
                  <a:lnTo>
                    <a:pt x="279" y="15"/>
                  </a:lnTo>
                  <a:lnTo>
                    <a:pt x="278" y="14"/>
                  </a:lnTo>
                  <a:lnTo>
                    <a:pt x="278" y="12"/>
                  </a:lnTo>
                  <a:lnTo>
                    <a:pt x="278" y="12"/>
                  </a:lnTo>
                  <a:lnTo>
                    <a:pt x="277" y="8"/>
                  </a:lnTo>
                  <a:lnTo>
                    <a:pt x="272" y="4"/>
                  </a:lnTo>
                  <a:lnTo>
                    <a:pt x="268" y="1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259" y="2"/>
                  </a:lnTo>
                  <a:lnTo>
                    <a:pt x="256" y="7"/>
                  </a:lnTo>
                  <a:lnTo>
                    <a:pt x="253" y="11"/>
                  </a:lnTo>
                  <a:lnTo>
                    <a:pt x="252" y="16"/>
                  </a:lnTo>
                  <a:lnTo>
                    <a:pt x="252" y="16"/>
                  </a:lnTo>
                  <a:lnTo>
                    <a:pt x="249" y="18"/>
                  </a:lnTo>
                  <a:lnTo>
                    <a:pt x="246" y="21"/>
                  </a:lnTo>
                  <a:lnTo>
                    <a:pt x="243" y="23"/>
                  </a:lnTo>
                  <a:lnTo>
                    <a:pt x="243" y="25"/>
                  </a:lnTo>
                  <a:lnTo>
                    <a:pt x="243" y="26"/>
                  </a:lnTo>
                  <a:lnTo>
                    <a:pt x="243" y="26"/>
                  </a:lnTo>
                  <a:lnTo>
                    <a:pt x="242" y="29"/>
                  </a:lnTo>
                  <a:lnTo>
                    <a:pt x="239" y="30"/>
                  </a:lnTo>
                  <a:lnTo>
                    <a:pt x="239" y="30"/>
                  </a:lnTo>
                  <a:lnTo>
                    <a:pt x="241" y="37"/>
                  </a:lnTo>
                  <a:lnTo>
                    <a:pt x="241" y="40"/>
                  </a:lnTo>
                  <a:lnTo>
                    <a:pt x="239" y="40"/>
                  </a:lnTo>
                  <a:lnTo>
                    <a:pt x="239" y="40"/>
                  </a:lnTo>
                  <a:lnTo>
                    <a:pt x="238" y="40"/>
                  </a:lnTo>
                  <a:lnTo>
                    <a:pt x="235" y="41"/>
                  </a:lnTo>
                  <a:lnTo>
                    <a:pt x="232" y="43"/>
                  </a:lnTo>
                  <a:lnTo>
                    <a:pt x="229" y="44"/>
                  </a:lnTo>
                  <a:lnTo>
                    <a:pt x="229" y="44"/>
                  </a:lnTo>
                  <a:lnTo>
                    <a:pt x="228" y="43"/>
                  </a:lnTo>
                  <a:lnTo>
                    <a:pt x="225" y="40"/>
                  </a:lnTo>
                  <a:lnTo>
                    <a:pt x="221" y="33"/>
                  </a:lnTo>
                  <a:lnTo>
                    <a:pt x="221" y="33"/>
                  </a:lnTo>
                  <a:lnTo>
                    <a:pt x="221" y="33"/>
                  </a:lnTo>
                  <a:lnTo>
                    <a:pt x="221" y="33"/>
                  </a:lnTo>
                  <a:lnTo>
                    <a:pt x="217" y="34"/>
                  </a:lnTo>
                  <a:lnTo>
                    <a:pt x="213" y="40"/>
                  </a:lnTo>
                  <a:lnTo>
                    <a:pt x="209" y="47"/>
                  </a:lnTo>
                  <a:lnTo>
                    <a:pt x="207" y="54"/>
                  </a:lnTo>
                  <a:lnTo>
                    <a:pt x="207" y="54"/>
                  </a:lnTo>
                  <a:lnTo>
                    <a:pt x="206" y="57"/>
                  </a:lnTo>
                  <a:lnTo>
                    <a:pt x="204" y="59"/>
                  </a:lnTo>
                  <a:lnTo>
                    <a:pt x="199" y="61"/>
                  </a:lnTo>
                  <a:lnTo>
                    <a:pt x="184" y="61"/>
                  </a:lnTo>
                  <a:lnTo>
                    <a:pt x="184" y="61"/>
                  </a:lnTo>
                  <a:lnTo>
                    <a:pt x="179" y="62"/>
                  </a:lnTo>
                  <a:lnTo>
                    <a:pt x="178" y="64"/>
                  </a:lnTo>
                  <a:lnTo>
                    <a:pt x="175" y="66"/>
                  </a:lnTo>
                  <a:lnTo>
                    <a:pt x="175" y="69"/>
                  </a:lnTo>
                  <a:lnTo>
                    <a:pt x="175" y="76"/>
                  </a:lnTo>
                  <a:lnTo>
                    <a:pt x="174" y="82"/>
                  </a:lnTo>
                  <a:lnTo>
                    <a:pt x="174" y="82"/>
                  </a:lnTo>
                  <a:lnTo>
                    <a:pt x="173" y="83"/>
                  </a:lnTo>
                  <a:lnTo>
                    <a:pt x="170" y="83"/>
                  </a:lnTo>
                  <a:lnTo>
                    <a:pt x="164" y="80"/>
                  </a:lnTo>
                  <a:lnTo>
                    <a:pt x="157" y="77"/>
                  </a:lnTo>
                  <a:lnTo>
                    <a:pt x="150" y="75"/>
                  </a:lnTo>
                  <a:lnTo>
                    <a:pt x="150" y="75"/>
                  </a:lnTo>
                  <a:lnTo>
                    <a:pt x="153" y="82"/>
                  </a:lnTo>
                  <a:lnTo>
                    <a:pt x="154" y="84"/>
                  </a:lnTo>
                  <a:lnTo>
                    <a:pt x="156" y="86"/>
                  </a:lnTo>
                  <a:lnTo>
                    <a:pt x="156" y="86"/>
                  </a:lnTo>
                  <a:lnTo>
                    <a:pt x="159" y="87"/>
                  </a:lnTo>
                  <a:lnTo>
                    <a:pt x="161" y="90"/>
                  </a:lnTo>
                  <a:lnTo>
                    <a:pt x="166" y="91"/>
                  </a:lnTo>
                  <a:lnTo>
                    <a:pt x="167" y="93"/>
                  </a:lnTo>
                  <a:lnTo>
                    <a:pt x="168" y="91"/>
                  </a:lnTo>
                  <a:lnTo>
                    <a:pt x="168" y="91"/>
                  </a:lnTo>
                  <a:lnTo>
                    <a:pt x="173" y="90"/>
                  </a:lnTo>
                  <a:lnTo>
                    <a:pt x="178" y="90"/>
                  </a:lnTo>
                  <a:lnTo>
                    <a:pt x="184" y="90"/>
                  </a:lnTo>
                  <a:lnTo>
                    <a:pt x="189" y="90"/>
                  </a:lnTo>
                  <a:lnTo>
                    <a:pt x="189" y="90"/>
                  </a:lnTo>
                  <a:lnTo>
                    <a:pt x="192" y="89"/>
                  </a:lnTo>
                  <a:lnTo>
                    <a:pt x="195" y="86"/>
                  </a:lnTo>
                  <a:lnTo>
                    <a:pt x="199" y="84"/>
                  </a:lnTo>
                  <a:lnTo>
                    <a:pt x="204" y="83"/>
                  </a:lnTo>
                  <a:lnTo>
                    <a:pt x="204" y="83"/>
                  </a:lnTo>
                  <a:lnTo>
                    <a:pt x="209" y="84"/>
                  </a:lnTo>
                  <a:lnTo>
                    <a:pt x="211" y="86"/>
                  </a:lnTo>
                  <a:lnTo>
                    <a:pt x="214" y="87"/>
                  </a:lnTo>
                  <a:lnTo>
                    <a:pt x="220" y="86"/>
                  </a:lnTo>
                  <a:lnTo>
                    <a:pt x="220" y="86"/>
                  </a:lnTo>
                  <a:lnTo>
                    <a:pt x="225" y="84"/>
                  </a:lnTo>
                  <a:lnTo>
                    <a:pt x="229" y="83"/>
                  </a:lnTo>
                  <a:lnTo>
                    <a:pt x="232" y="82"/>
                  </a:lnTo>
                  <a:lnTo>
                    <a:pt x="234" y="77"/>
                  </a:lnTo>
                  <a:lnTo>
                    <a:pt x="234" y="77"/>
                  </a:lnTo>
                  <a:lnTo>
                    <a:pt x="234" y="72"/>
                  </a:lnTo>
                  <a:lnTo>
                    <a:pt x="235" y="69"/>
                  </a:lnTo>
                  <a:lnTo>
                    <a:pt x="238" y="66"/>
                  </a:lnTo>
                  <a:lnTo>
                    <a:pt x="238" y="62"/>
                  </a:lnTo>
                  <a:lnTo>
                    <a:pt x="238" y="62"/>
                  </a:lnTo>
                  <a:lnTo>
                    <a:pt x="238" y="59"/>
                  </a:lnTo>
                  <a:lnTo>
                    <a:pt x="239" y="59"/>
                  </a:lnTo>
                  <a:lnTo>
                    <a:pt x="242" y="57"/>
                  </a:lnTo>
                  <a:lnTo>
                    <a:pt x="246" y="54"/>
                  </a:lnTo>
                  <a:lnTo>
                    <a:pt x="246" y="52"/>
                  </a:lnTo>
                  <a:lnTo>
                    <a:pt x="247" y="48"/>
                  </a:lnTo>
                  <a:lnTo>
                    <a:pt x="247" y="48"/>
                  </a:lnTo>
                  <a:lnTo>
                    <a:pt x="247" y="44"/>
                  </a:lnTo>
                  <a:lnTo>
                    <a:pt x="249" y="41"/>
                  </a:lnTo>
                  <a:lnTo>
                    <a:pt x="252" y="40"/>
                  </a:lnTo>
                  <a:lnTo>
                    <a:pt x="256" y="39"/>
                  </a:lnTo>
                  <a:lnTo>
                    <a:pt x="264" y="37"/>
                  </a:lnTo>
                  <a:lnTo>
                    <a:pt x="271" y="39"/>
                  </a:lnTo>
                  <a:lnTo>
                    <a:pt x="271" y="39"/>
                  </a:lnTo>
                  <a:lnTo>
                    <a:pt x="278" y="40"/>
                  </a:lnTo>
                  <a:lnTo>
                    <a:pt x="278" y="40"/>
                  </a:lnTo>
                  <a:lnTo>
                    <a:pt x="286" y="36"/>
                  </a:lnTo>
                  <a:lnTo>
                    <a:pt x="289" y="33"/>
                  </a:lnTo>
                  <a:lnTo>
                    <a:pt x="289" y="32"/>
                  </a:lnTo>
                  <a:lnTo>
                    <a:pt x="288" y="32"/>
                  </a:lnTo>
                  <a:lnTo>
                    <a:pt x="288" y="32"/>
                  </a:lnTo>
                  <a:lnTo>
                    <a:pt x="288" y="30"/>
                  </a:lnTo>
                  <a:lnTo>
                    <a:pt x="288" y="29"/>
                  </a:lnTo>
                  <a:lnTo>
                    <a:pt x="293" y="29"/>
                  </a:lnTo>
                  <a:lnTo>
                    <a:pt x="299" y="27"/>
                  </a:lnTo>
                  <a:lnTo>
                    <a:pt x="302" y="26"/>
                  </a:lnTo>
                  <a:lnTo>
                    <a:pt x="303" y="25"/>
                  </a:lnTo>
                  <a:lnTo>
                    <a:pt x="303" y="25"/>
                  </a:lnTo>
                  <a:lnTo>
                    <a:pt x="303" y="23"/>
                  </a:lnTo>
                  <a:lnTo>
                    <a:pt x="302" y="21"/>
                  </a:lnTo>
                  <a:lnTo>
                    <a:pt x="299" y="18"/>
                  </a:lnTo>
                  <a:lnTo>
                    <a:pt x="296" y="16"/>
                  </a:lnTo>
                  <a:lnTo>
                    <a:pt x="292" y="16"/>
                  </a:lnTo>
                  <a:lnTo>
                    <a:pt x="292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36" name="Freeform 95"/>
            <p:cNvSpPr>
              <a:spLocks/>
            </p:cNvSpPr>
            <p:nvPr/>
          </p:nvSpPr>
          <p:spPr bwMode="auto">
            <a:xfrm>
              <a:off x="7396163" y="3871913"/>
              <a:ext cx="31750" cy="22225"/>
            </a:xfrm>
            <a:custGeom>
              <a:avLst/>
              <a:gdLst>
                <a:gd name="T0" fmla="*/ 8 w 20"/>
                <a:gd name="T1" fmla="*/ 14 h 14"/>
                <a:gd name="T2" fmla="*/ 8 w 20"/>
                <a:gd name="T3" fmla="*/ 14 h 14"/>
                <a:gd name="T4" fmla="*/ 11 w 20"/>
                <a:gd name="T5" fmla="*/ 13 h 14"/>
                <a:gd name="T6" fmla="*/ 14 w 20"/>
                <a:gd name="T7" fmla="*/ 11 h 14"/>
                <a:gd name="T8" fmla="*/ 17 w 20"/>
                <a:gd name="T9" fmla="*/ 10 h 14"/>
                <a:gd name="T10" fmla="*/ 18 w 20"/>
                <a:gd name="T11" fmla="*/ 10 h 14"/>
                <a:gd name="T12" fmla="*/ 18 w 20"/>
                <a:gd name="T13" fmla="*/ 10 h 14"/>
                <a:gd name="T14" fmla="*/ 20 w 20"/>
                <a:gd name="T15" fmla="*/ 10 h 14"/>
                <a:gd name="T16" fmla="*/ 20 w 20"/>
                <a:gd name="T17" fmla="*/ 7 h 14"/>
                <a:gd name="T18" fmla="*/ 18 w 20"/>
                <a:gd name="T19" fmla="*/ 0 h 14"/>
                <a:gd name="T20" fmla="*/ 18 w 20"/>
                <a:gd name="T21" fmla="*/ 0 h 14"/>
                <a:gd name="T22" fmla="*/ 13 w 20"/>
                <a:gd name="T23" fmla="*/ 2 h 14"/>
                <a:gd name="T24" fmla="*/ 11 w 20"/>
                <a:gd name="T25" fmla="*/ 3 h 14"/>
                <a:gd name="T26" fmla="*/ 11 w 20"/>
                <a:gd name="T27" fmla="*/ 4 h 14"/>
                <a:gd name="T28" fmla="*/ 11 w 20"/>
                <a:gd name="T29" fmla="*/ 4 h 14"/>
                <a:gd name="T30" fmla="*/ 10 w 20"/>
                <a:gd name="T31" fmla="*/ 6 h 14"/>
                <a:gd name="T32" fmla="*/ 10 w 20"/>
                <a:gd name="T33" fmla="*/ 6 h 14"/>
                <a:gd name="T34" fmla="*/ 7 w 20"/>
                <a:gd name="T35" fmla="*/ 4 h 14"/>
                <a:gd name="T36" fmla="*/ 0 w 20"/>
                <a:gd name="T37" fmla="*/ 3 h 14"/>
                <a:gd name="T38" fmla="*/ 0 w 20"/>
                <a:gd name="T39" fmla="*/ 3 h 14"/>
                <a:gd name="T40" fmla="*/ 4 w 20"/>
                <a:gd name="T41" fmla="*/ 10 h 14"/>
                <a:gd name="T42" fmla="*/ 7 w 20"/>
                <a:gd name="T43" fmla="*/ 13 h 14"/>
                <a:gd name="T44" fmla="*/ 8 w 20"/>
                <a:gd name="T45" fmla="*/ 14 h 14"/>
                <a:gd name="T46" fmla="*/ 8 w 20"/>
                <a:gd name="T4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" h="14">
                  <a:moveTo>
                    <a:pt x="8" y="14"/>
                  </a:moveTo>
                  <a:lnTo>
                    <a:pt x="8" y="14"/>
                  </a:lnTo>
                  <a:lnTo>
                    <a:pt x="11" y="13"/>
                  </a:lnTo>
                  <a:lnTo>
                    <a:pt x="14" y="11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20" y="10"/>
                  </a:lnTo>
                  <a:lnTo>
                    <a:pt x="20" y="7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3" y="2"/>
                  </a:lnTo>
                  <a:lnTo>
                    <a:pt x="11" y="3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7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4" y="10"/>
                  </a:lnTo>
                  <a:lnTo>
                    <a:pt x="7" y="13"/>
                  </a:lnTo>
                  <a:lnTo>
                    <a:pt x="8" y="14"/>
                  </a:lnTo>
                  <a:lnTo>
                    <a:pt x="8" y="1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37" name="Freeform 142"/>
            <p:cNvSpPr>
              <a:spLocks/>
            </p:cNvSpPr>
            <p:nvPr/>
          </p:nvSpPr>
          <p:spPr bwMode="auto">
            <a:xfrm>
              <a:off x="5976938" y="2762250"/>
              <a:ext cx="431800" cy="257175"/>
            </a:xfrm>
            <a:custGeom>
              <a:avLst/>
              <a:gdLst>
                <a:gd name="T0" fmla="*/ 257 w 272"/>
                <a:gd name="T1" fmla="*/ 82 h 162"/>
                <a:gd name="T2" fmla="*/ 249 w 272"/>
                <a:gd name="T3" fmla="*/ 80 h 162"/>
                <a:gd name="T4" fmla="*/ 236 w 272"/>
                <a:gd name="T5" fmla="*/ 82 h 162"/>
                <a:gd name="T6" fmla="*/ 226 w 272"/>
                <a:gd name="T7" fmla="*/ 76 h 162"/>
                <a:gd name="T8" fmla="*/ 210 w 272"/>
                <a:gd name="T9" fmla="*/ 83 h 162"/>
                <a:gd name="T10" fmla="*/ 204 w 272"/>
                <a:gd name="T11" fmla="*/ 93 h 162"/>
                <a:gd name="T12" fmla="*/ 197 w 272"/>
                <a:gd name="T13" fmla="*/ 91 h 162"/>
                <a:gd name="T14" fmla="*/ 185 w 272"/>
                <a:gd name="T15" fmla="*/ 84 h 162"/>
                <a:gd name="T16" fmla="*/ 171 w 272"/>
                <a:gd name="T17" fmla="*/ 80 h 162"/>
                <a:gd name="T18" fmla="*/ 164 w 272"/>
                <a:gd name="T19" fmla="*/ 68 h 162"/>
                <a:gd name="T20" fmla="*/ 161 w 272"/>
                <a:gd name="T21" fmla="*/ 51 h 162"/>
                <a:gd name="T22" fmla="*/ 153 w 272"/>
                <a:gd name="T23" fmla="*/ 44 h 162"/>
                <a:gd name="T24" fmla="*/ 131 w 272"/>
                <a:gd name="T25" fmla="*/ 40 h 162"/>
                <a:gd name="T26" fmla="*/ 104 w 272"/>
                <a:gd name="T27" fmla="*/ 40 h 162"/>
                <a:gd name="T28" fmla="*/ 94 w 272"/>
                <a:gd name="T29" fmla="*/ 40 h 162"/>
                <a:gd name="T30" fmla="*/ 75 w 272"/>
                <a:gd name="T31" fmla="*/ 23 h 162"/>
                <a:gd name="T32" fmla="*/ 57 w 272"/>
                <a:gd name="T33" fmla="*/ 32 h 162"/>
                <a:gd name="T34" fmla="*/ 53 w 272"/>
                <a:gd name="T35" fmla="*/ 23 h 162"/>
                <a:gd name="T36" fmla="*/ 54 w 272"/>
                <a:gd name="T37" fmla="*/ 4 h 162"/>
                <a:gd name="T38" fmla="*/ 49 w 272"/>
                <a:gd name="T39" fmla="*/ 2 h 162"/>
                <a:gd name="T40" fmla="*/ 46 w 272"/>
                <a:gd name="T41" fmla="*/ 23 h 162"/>
                <a:gd name="T42" fmla="*/ 42 w 272"/>
                <a:gd name="T43" fmla="*/ 22 h 162"/>
                <a:gd name="T44" fmla="*/ 3 w 272"/>
                <a:gd name="T45" fmla="*/ 11 h 162"/>
                <a:gd name="T46" fmla="*/ 0 w 272"/>
                <a:gd name="T47" fmla="*/ 80 h 162"/>
                <a:gd name="T48" fmla="*/ 15 w 272"/>
                <a:gd name="T49" fmla="*/ 82 h 162"/>
                <a:gd name="T50" fmla="*/ 18 w 272"/>
                <a:gd name="T51" fmla="*/ 72 h 162"/>
                <a:gd name="T52" fmla="*/ 28 w 272"/>
                <a:gd name="T53" fmla="*/ 66 h 162"/>
                <a:gd name="T54" fmla="*/ 33 w 272"/>
                <a:gd name="T55" fmla="*/ 61 h 162"/>
                <a:gd name="T56" fmla="*/ 40 w 272"/>
                <a:gd name="T57" fmla="*/ 58 h 162"/>
                <a:gd name="T58" fmla="*/ 51 w 272"/>
                <a:gd name="T59" fmla="*/ 61 h 162"/>
                <a:gd name="T60" fmla="*/ 65 w 272"/>
                <a:gd name="T61" fmla="*/ 65 h 162"/>
                <a:gd name="T62" fmla="*/ 69 w 272"/>
                <a:gd name="T63" fmla="*/ 82 h 162"/>
                <a:gd name="T64" fmla="*/ 92 w 272"/>
                <a:gd name="T65" fmla="*/ 84 h 162"/>
                <a:gd name="T66" fmla="*/ 99 w 272"/>
                <a:gd name="T67" fmla="*/ 94 h 162"/>
                <a:gd name="T68" fmla="*/ 106 w 272"/>
                <a:gd name="T69" fmla="*/ 107 h 162"/>
                <a:gd name="T70" fmla="*/ 121 w 272"/>
                <a:gd name="T71" fmla="*/ 119 h 162"/>
                <a:gd name="T72" fmla="*/ 139 w 272"/>
                <a:gd name="T73" fmla="*/ 129 h 162"/>
                <a:gd name="T74" fmla="*/ 153 w 272"/>
                <a:gd name="T75" fmla="*/ 138 h 162"/>
                <a:gd name="T76" fmla="*/ 164 w 272"/>
                <a:gd name="T77" fmla="*/ 141 h 162"/>
                <a:gd name="T78" fmla="*/ 172 w 272"/>
                <a:gd name="T79" fmla="*/ 154 h 162"/>
                <a:gd name="T80" fmla="*/ 182 w 272"/>
                <a:gd name="T81" fmla="*/ 158 h 162"/>
                <a:gd name="T82" fmla="*/ 192 w 272"/>
                <a:gd name="T83" fmla="*/ 162 h 162"/>
                <a:gd name="T84" fmla="*/ 194 w 272"/>
                <a:gd name="T85" fmla="*/ 148 h 162"/>
                <a:gd name="T86" fmla="*/ 199 w 272"/>
                <a:gd name="T87" fmla="*/ 143 h 162"/>
                <a:gd name="T88" fmla="*/ 196 w 272"/>
                <a:gd name="T89" fmla="*/ 132 h 162"/>
                <a:gd name="T90" fmla="*/ 187 w 272"/>
                <a:gd name="T91" fmla="*/ 122 h 162"/>
                <a:gd name="T92" fmla="*/ 187 w 272"/>
                <a:gd name="T93" fmla="*/ 118 h 162"/>
                <a:gd name="T94" fmla="*/ 203 w 272"/>
                <a:gd name="T95" fmla="*/ 112 h 162"/>
                <a:gd name="T96" fmla="*/ 205 w 272"/>
                <a:gd name="T97" fmla="*/ 105 h 162"/>
                <a:gd name="T98" fmla="*/ 214 w 272"/>
                <a:gd name="T99" fmla="*/ 97 h 162"/>
                <a:gd name="T100" fmla="*/ 225 w 272"/>
                <a:gd name="T101" fmla="*/ 94 h 162"/>
                <a:gd name="T102" fmla="*/ 236 w 272"/>
                <a:gd name="T103" fmla="*/ 91 h 162"/>
                <a:gd name="T104" fmla="*/ 230 w 272"/>
                <a:gd name="T105" fmla="*/ 104 h 162"/>
                <a:gd name="T106" fmla="*/ 249 w 272"/>
                <a:gd name="T107" fmla="*/ 101 h 162"/>
                <a:gd name="T108" fmla="*/ 260 w 272"/>
                <a:gd name="T109" fmla="*/ 101 h 162"/>
                <a:gd name="T110" fmla="*/ 265 w 272"/>
                <a:gd name="T111" fmla="*/ 97 h 162"/>
                <a:gd name="T112" fmla="*/ 269 w 272"/>
                <a:gd name="T113" fmla="*/ 9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2" h="162">
                  <a:moveTo>
                    <a:pt x="269" y="91"/>
                  </a:moveTo>
                  <a:lnTo>
                    <a:pt x="269" y="91"/>
                  </a:lnTo>
                  <a:lnTo>
                    <a:pt x="264" y="86"/>
                  </a:lnTo>
                  <a:lnTo>
                    <a:pt x="257" y="82"/>
                  </a:lnTo>
                  <a:lnTo>
                    <a:pt x="251" y="80"/>
                  </a:lnTo>
                  <a:lnTo>
                    <a:pt x="250" y="80"/>
                  </a:lnTo>
                  <a:lnTo>
                    <a:pt x="249" y="80"/>
                  </a:lnTo>
                  <a:lnTo>
                    <a:pt x="249" y="80"/>
                  </a:lnTo>
                  <a:lnTo>
                    <a:pt x="246" y="83"/>
                  </a:lnTo>
                  <a:lnTo>
                    <a:pt x="243" y="84"/>
                  </a:lnTo>
                  <a:lnTo>
                    <a:pt x="239" y="83"/>
                  </a:lnTo>
                  <a:lnTo>
                    <a:pt x="236" y="82"/>
                  </a:lnTo>
                  <a:lnTo>
                    <a:pt x="236" y="82"/>
                  </a:lnTo>
                  <a:lnTo>
                    <a:pt x="233" y="79"/>
                  </a:lnTo>
                  <a:lnTo>
                    <a:pt x="230" y="76"/>
                  </a:lnTo>
                  <a:lnTo>
                    <a:pt x="226" y="76"/>
                  </a:lnTo>
                  <a:lnTo>
                    <a:pt x="221" y="77"/>
                  </a:lnTo>
                  <a:lnTo>
                    <a:pt x="221" y="77"/>
                  </a:lnTo>
                  <a:lnTo>
                    <a:pt x="215" y="80"/>
                  </a:lnTo>
                  <a:lnTo>
                    <a:pt x="210" y="83"/>
                  </a:lnTo>
                  <a:lnTo>
                    <a:pt x="207" y="87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4" y="93"/>
                  </a:lnTo>
                  <a:lnTo>
                    <a:pt x="201" y="94"/>
                  </a:lnTo>
                  <a:lnTo>
                    <a:pt x="199" y="94"/>
                  </a:lnTo>
                  <a:lnTo>
                    <a:pt x="197" y="91"/>
                  </a:lnTo>
                  <a:lnTo>
                    <a:pt x="197" y="91"/>
                  </a:lnTo>
                  <a:lnTo>
                    <a:pt x="196" y="88"/>
                  </a:lnTo>
                  <a:lnTo>
                    <a:pt x="193" y="87"/>
                  </a:lnTo>
                  <a:lnTo>
                    <a:pt x="185" y="84"/>
                  </a:lnTo>
                  <a:lnTo>
                    <a:pt x="185" y="84"/>
                  </a:lnTo>
                  <a:lnTo>
                    <a:pt x="176" y="83"/>
                  </a:lnTo>
                  <a:lnTo>
                    <a:pt x="172" y="83"/>
                  </a:lnTo>
                  <a:lnTo>
                    <a:pt x="172" y="82"/>
                  </a:lnTo>
                  <a:lnTo>
                    <a:pt x="171" y="80"/>
                  </a:lnTo>
                  <a:lnTo>
                    <a:pt x="171" y="80"/>
                  </a:lnTo>
                  <a:lnTo>
                    <a:pt x="169" y="76"/>
                  </a:lnTo>
                  <a:lnTo>
                    <a:pt x="167" y="72"/>
                  </a:lnTo>
                  <a:lnTo>
                    <a:pt x="164" y="68"/>
                  </a:lnTo>
                  <a:lnTo>
                    <a:pt x="162" y="64"/>
                  </a:lnTo>
                  <a:lnTo>
                    <a:pt x="162" y="64"/>
                  </a:lnTo>
                  <a:lnTo>
                    <a:pt x="162" y="55"/>
                  </a:lnTo>
                  <a:lnTo>
                    <a:pt x="161" y="51"/>
                  </a:lnTo>
                  <a:lnTo>
                    <a:pt x="158" y="50"/>
                  </a:lnTo>
                  <a:lnTo>
                    <a:pt x="158" y="50"/>
                  </a:lnTo>
                  <a:lnTo>
                    <a:pt x="156" y="47"/>
                  </a:lnTo>
                  <a:lnTo>
                    <a:pt x="153" y="44"/>
                  </a:lnTo>
                  <a:lnTo>
                    <a:pt x="150" y="41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31" y="40"/>
                  </a:lnTo>
                  <a:lnTo>
                    <a:pt x="115" y="39"/>
                  </a:lnTo>
                  <a:lnTo>
                    <a:pt x="115" y="39"/>
                  </a:lnTo>
                  <a:lnTo>
                    <a:pt x="111" y="39"/>
                  </a:lnTo>
                  <a:lnTo>
                    <a:pt x="104" y="40"/>
                  </a:lnTo>
                  <a:lnTo>
                    <a:pt x="97" y="41"/>
                  </a:lnTo>
                  <a:lnTo>
                    <a:pt x="96" y="41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87" y="3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5" y="23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64" y="32"/>
                  </a:lnTo>
                  <a:lnTo>
                    <a:pt x="57" y="32"/>
                  </a:lnTo>
                  <a:lnTo>
                    <a:pt x="54" y="32"/>
                  </a:lnTo>
                  <a:lnTo>
                    <a:pt x="53" y="30"/>
                  </a:lnTo>
                  <a:lnTo>
                    <a:pt x="51" y="27"/>
                  </a:lnTo>
                  <a:lnTo>
                    <a:pt x="53" y="23"/>
                  </a:lnTo>
                  <a:lnTo>
                    <a:pt x="53" y="23"/>
                  </a:lnTo>
                  <a:lnTo>
                    <a:pt x="54" y="16"/>
                  </a:lnTo>
                  <a:lnTo>
                    <a:pt x="56" y="8"/>
                  </a:lnTo>
                  <a:lnTo>
                    <a:pt x="54" y="4"/>
                  </a:lnTo>
                  <a:lnTo>
                    <a:pt x="53" y="2"/>
                  </a:lnTo>
                  <a:lnTo>
                    <a:pt x="51" y="1"/>
                  </a:lnTo>
                  <a:lnTo>
                    <a:pt x="51" y="1"/>
                  </a:lnTo>
                  <a:lnTo>
                    <a:pt x="49" y="2"/>
                  </a:lnTo>
                  <a:lnTo>
                    <a:pt x="47" y="5"/>
                  </a:lnTo>
                  <a:lnTo>
                    <a:pt x="47" y="12"/>
                  </a:lnTo>
                  <a:lnTo>
                    <a:pt x="46" y="20"/>
                  </a:lnTo>
                  <a:lnTo>
                    <a:pt x="46" y="23"/>
                  </a:lnTo>
                  <a:lnTo>
                    <a:pt x="44" y="25"/>
                  </a:lnTo>
                  <a:lnTo>
                    <a:pt x="44" y="25"/>
                  </a:lnTo>
                  <a:lnTo>
                    <a:pt x="43" y="23"/>
                  </a:lnTo>
                  <a:lnTo>
                    <a:pt x="42" y="22"/>
                  </a:lnTo>
                  <a:lnTo>
                    <a:pt x="40" y="16"/>
                  </a:lnTo>
                  <a:lnTo>
                    <a:pt x="40" y="8"/>
                  </a:lnTo>
                  <a:lnTo>
                    <a:pt x="42" y="0"/>
                  </a:lnTo>
                  <a:lnTo>
                    <a:pt x="3" y="11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6" y="82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5" y="82"/>
                  </a:lnTo>
                  <a:lnTo>
                    <a:pt x="17" y="80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8" y="72"/>
                  </a:lnTo>
                  <a:lnTo>
                    <a:pt x="21" y="69"/>
                  </a:lnTo>
                  <a:lnTo>
                    <a:pt x="25" y="68"/>
                  </a:lnTo>
                  <a:lnTo>
                    <a:pt x="28" y="66"/>
                  </a:lnTo>
                  <a:lnTo>
                    <a:pt x="28" y="66"/>
                  </a:lnTo>
                  <a:lnTo>
                    <a:pt x="31" y="66"/>
                  </a:lnTo>
                  <a:lnTo>
                    <a:pt x="32" y="64"/>
                  </a:lnTo>
                  <a:lnTo>
                    <a:pt x="33" y="62"/>
                  </a:lnTo>
                  <a:lnTo>
                    <a:pt x="33" y="61"/>
                  </a:lnTo>
                  <a:lnTo>
                    <a:pt x="33" y="61"/>
                  </a:lnTo>
                  <a:lnTo>
                    <a:pt x="38" y="59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42" y="57"/>
                  </a:lnTo>
                  <a:lnTo>
                    <a:pt x="46" y="57"/>
                  </a:lnTo>
                  <a:lnTo>
                    <a:pt x="51" y="61"/>
                  </a:lnTo>
                  <a:lnTo>
                    <a:pt x="51" y="61"/>
                  </a:lnTo>
                  <a:lnTo>
                    <a:pt x="57" y="62"/>
                  </a:lnTo>
                  <a:lnTo>
                    <a:pt x="64" y="65"/>
                  </a:lnTo>
                  <a:lnTo>
                    <a:pt x="64" y="65"/>
                  </a:lnTo>
                  <a:lnTo>
                    <a:pt x="65" y="65"/>
                  </a:lnTo>
                  <a:lnTo>
                    <a:pt x="65" y="66"/>
                  </a:lnTo>
                  <a:lnTo>
                    <a:pt x="68" y="72"/>
                  </a:lnTo>
                  <a:lnTo>
                    <a:pt x="69" y="82"/>
                  </a:lnTo>
                  <a:lnTo>
                    <a:pt x="69" y="82"/>
                  </a:lnTo>
                  <a:lnTo>
                    <a:pt x="69" y="82"/>
                  </a:lnTo>
                  <a:lnTo>
                    <a:pt x="72" y="83"/>
                  </a:lnTo>
                  <a:lnTo>
                    <a:pt x="79" y="83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4" y="84"/>
                  </a:lnTo>
                  <a:lnTo>
                    <a:pt x="96" y="87"/>
                  </a:lnTo>
                  <a:lnTo>
                    <a:pt x="99" y="94"/>
                  </a:lnTo>
                  <a:lnTo>
                    <a:pt x="99" y="94"/>
                  </a:lnTo>
                  <a:lnTo>
                    <a:pt x="103" y="101"/>
                  </a:lnTo>
                  <a:lnTo>
                    <a:pt x="106" y="107"/>
                  </a:lnTo>
                  <a:lnTo>
                    <a:pt x="106" y="107"/>
                  </a:lnTo>
                  <a:lnTo>
                    <a:pt x="108" y="109"/>
                  </a:lnTo>
                  <a:lnTo>
                    <a:pt x="112" y="112"/>
                  </a:lnTo>
                  <a:lnTo>
                    <a:pt x="118" y="115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24" y="122"/>
                  </a:lnTo>
                  <a:lnTo>
                    <a:pt x="129" y="125"/>
                  </a:lnTo>
                  <a:lnTo>
                    <a:pt x="139" y="129"/>
                  </a:lnTo>
                  <a:lnTo>
                    <a:pt x="139" y="129"/>
                  </a:lnTo>
                  <a:lnTo>
                    <a:pt x="144" y="132"/>
                  </a:lnTo>
                  <a:lnTo>
                    <a:pt x="149" y="136"/>
                  </a:lnTo>
                  <a:lnTo>
                    <a:pt x="153" y="138"/>
                  </a:lnTo>
                  <a:lnTo>
                    <a:pt x="156" y="140"/>
                  </a:lnTo>
                  <a:lnTo>
                    <a:pt x="156" y="140"/>
                  </a:lnTo>
                  <a:lnTo>
                    <a:pt x="160" y="140"/>
                  </a:lnTo>
                  <a:lnTo>
                    <a:pt x="164" y="141"/>
                  </a:lnTo>
                  <a:lnTo>
                    <a:pt x="169" y="144"/>
                  </a:lnTo>
                  <a:lnTo>
                    <a:pt x="171" y="155"/>
                  </a:lnTo>
                  <a:lnTo>
                    <a:pt x="171" y="155"/>
                  </a:lnTo>
                  <a:lnTo>
                    <a:pt x="172" y="154"/>
                  </a:lnTo>
                  <a:lnTo>
                    <a:pt x="172" y="154"/>
                  </a:lnTo>
                  <a:lnTo>
                    <a:pt x="175" y="154"/>
                  </a:lnTo>
                  <a:lnTo>
                    <a:pt x="179" y="155"/>
                  </a:lnTo>
                  <a:lnTo>
                    <a:pt x="182" y="158"/>
                  </a:lnTo>
                  <a:lnTo>
                    <a:pt x="185" y="159"/>
                  </a:lnTo>
                  <a:lnTo>
                    <a:pt x="185" y="159"/>
                  </a:lnTo>
                  <a:lnTo>
                    <a:pt x="187" y="159"/>
                  </a:lnTo>
                  <a:lnTo>
                    <a:pt x="192" y="162"/>
                  </a:lnTo>
                  <a:lnTo>
                    <a:pt x="192" y="162"/>
                  </a:lnTo>
                  <a:lnTo>
                    <a:pt x="192" y="155"/>
                  </a:lnTo>
                  <a:lnTo>
                    <a:pt x="193" y="151"/>
                  </a:lnTo>
                  <a:lnTo>
                    <a:pt x="194" y="148"/>
                  </a:lnTo>
                  <a:lnTo>
                    <a:pt x="197" y="145"/>
                  </a:lnTo>
                  <a:lnTo>
                    <a:pt x="197" y="145"/>
                  </a:lnTo>
                  <a:lnTo>
                    <a:pt x="199" y="144"/>
                  </a:lnTo>
                  <a:lnTo>
                    <a:pt x="199" y="143"/>
                  </a:lnTo>
                  <a:lnTo>
                    <a:pt x="197" y="138"/>
                  </a:lnTo>
                  <a:lnTo>
                    <a:pt x="196" y="136"/>
                  </a:lnTo>
                  <a:lnTo>
                    <a:pt x="196" y="132"/>
                  </a:lnTo>
                  <a:lnTo>
                    <a:pt x="196" y="132"/>
                  </a:lnTo>
                  <a:lnTo>
                    <a:pt x="196" y="130"/>
                  </a:lnTo>
                  <a:lnTo>
                    <a:pt x="194" y="127"/>
                  </a:lnTo>
                  <a:lnTo>
                    <a:pt x="190" y="125"/>
                  </a:lnTo>
                  <a:lnTo>
                    <a:pt x="187" y="122"/>
                  </a:lnTo>
                  <a:lnTo>
                    <a:pt x="186" y="120"/>
                  </a:lnTo>
                  <a:lnTo>
                    <a:pt x="186" y="119"/>
                  </a:lnTo>
                  <a:lnTo>
                    <a:pt x="186" y="119"/>
                  </a:lnTo>
                  <a:lnTo>
                    <a:pt x="187" y="118"/>
                  </a:lnTo>
                  <a:lnTo>
                    <a:pt x="192" y="116"/>
                  </a:lnTo>
                  <a:lnTo>
                    <a:pt x="201" y="113"/>
                  </a:lnTo>
                  <a:lnTo>
                    <a:pt x="201" y="113"/>
                  </a:lnTo>
                  <a:lnTo>
                    <a:pt x="203" y="112"/>
                  </a:lnTo>
                  <a:lnTo>
                    <a:pt x="203" y="109"/>
                  </a:lnTo>
                  <a:lnTo>
                    <a:pt x="204" y="107"/>
                  </a:lnTo>
                  <a:lnTo>
                    <a:pt x="205" y="105"/>
                  </a:lnTo>
                  <a:lnTo>
                    <a:pt x="205" y="105"/>
                  </a:lnTo>
                  <a:lnTo>
                    <a:pt x="208" y="104"/>
                  </a:lnTo>
                  <a:lnTo>
                    <a:pt x="211" y="102"/>
                  </a:lnTo>
                  <a:lnTo>
                    <a:pt x="214" y="97"/>
                  </a:lnTo>
                  <a:lnTo>
                    <a:pt x="214" y="97"/>
                  </a:lnTo>
                  <a:lnTo>
                    <a:pt x="215" y="95"/>
                  </a:lnTo>
                  <a:lnTo>
                    <a:pt x="218" y="95"/>
                  </a:lnTo>
                  <a:lnTo>
                    <a:pt x="222" y="95"/>
                  </a:lnTo>
                  <a:lnTo>
                    <a:pt x="225" y="94"/>
                  </a:lnTo>
                  <a:lnTo>
                    <a:pt x="225" y="94"/>
                  </a:lnTo>
                  <a:lnTo>
                    <a:pt x="232" y="91"/>
                  </a:lnTo>
                  <a:lnTo>
                    <a:pt x="235" y="90"/>
                  </a:lnTo>
                  <a:lnTo>
                    <a:pt x="236" y="91"/>
                  </a:lnTo>
                  <a:lnTo>
                    <a:pt x="236" y="91"/>
                  </a:lnTo>
                  <a:lnTo>
                    <a:pt x="236" y="94"/>
                  </a:lnTo>
                  <a:lnTo>
                    <a:pt x="235" y="97"/>
                  </a:lnTo>
                  <a:lnTo>
                    <a:pt x="230" y="104"/>
                  </a:lnTo>
                  <a:lnTo>
                    <a:pt x="230" y="104"/>
                  </a:lnTo>
                  <a:lnTo>
                    <a:pt x="242" y="104"/>
                  </a:lnTo>
                  <a:lnTo>
                    <a:pt x="246" y="102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51" y="101"/>
                  </a:lnTo>
                  <a:lnTo>
                    <a:pt x="255" y="101"/>
                  </a:lnTo>
                  <a:lnTo>
                    <a:pt x="260" y="101"/>
                  </a:lnTo>
                  <a:lnTo>
                    <a:pt x="262" y="101"/>
                  </a:lnTo>
                  <a:lnTo>
                    <a:pt x="264" y="98"/>
                  </a:lnTo>
                  <a:lnTo>
                    <a:pt x="264" y="98"/>
                  </a:lnTo>
                  <a:lnTo>
                    <a:pt x="265" y="97"/>
                  </a:lnTo>
                  <a:lnTo>
                    <a:pt x="267" y="95"/>
                  </a:lnTo>
                  <a:lnTo>
                    <a:pt x="271" y="94"/>
                  </a:lnTo>
                  <a:lnTo>
                    <a:pt x="272" y="94"/>
                  </a:lnTo>
                  <a:lnTo>
                    <a:pt x="269" y="91"/>
                  </a:lnTo>
                  <a:lnTo>
                    <a:pt x="269" y="9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38" name="Freeform 145"/>
            <p:cNvSpPr>
              <a:spLocks noEditPoints="1"/>
            </p:cNvSpPr>
            <p:nvPr/>
          </p:nvSpPr>
          <p:spPr bwMode="auto">
            <a:xfrm>
              <a:off x="7788276" y="2770188"/>
              <a:ext cx="423863" cy="419100"/>
            </a:xfrm>
            <a:custGeom>
              <a:avLst/>
              <a:gdLst>
                <a:gd name="T0" fmla="*/ 242 w 267"/>
                <a:gd name="T1" fmla="*/ 28 h 264"/>
                <a:gd name="T2" fmla="*/ 208 w 267"/>
                <a:gd name="T3" fmla="*/ 11 h 264"/>
                <a:gd name="T4" fmla="*/ 193 w 267"/>
                <a:gd name="T5" fmla="*/ 2 h 264"/>
                <a:gd name="T6" fmla="*/ 195 w 267"/>
                <a:gd name="T7" fmla="*/ 13 h 264"/>
                <a:gd name="T8" fmla="*/ 189 w 267"/>
                <a:gd name="T9" fmla="*/ 34 h 264"/>
                <a:gd name="T10" fmla="*/ 182 w 267"/>
                <a:gd name="T11" fmla="*/ 43 h 264"/>
                <a:gd name="T12" fmla="*/ 168 w 267"/>
                <a:gd name="T13" fmla="*/ 54 h 264"/>
                <a:gd name="T14" fmla="*/ 165 w 267"/>
                <a:gd name="T15" fmla="*/ 63 h 264"/>
                <a:gd name="T16" fmla="*/ 167 w 267"/>
                <a:gd name="T17" fmla="*/ 77 h 264"/>
                <a:gd name="T18" fmla="*/ 181 w 267"/>
                <a:gd name="T19" fmla="*/ 70 h 264"/>
                <a:gd name="T20" fmla="*/ 172 w 267"/>
                <a:gd name="T21" fmla="*/ 60 h 264"/>
                <a:gd name="T22" fmla="*/ 181 w 267"/>
                <a:gd name="T23" fmla="*/ 57 h 264"/>
                <a:gd name="T24" fmla="*/ 208 w 267"/>
                <a:gd name="T25" fmla="*/ 63 h 264"/>
                <a:gd name="T26" fmla="*/ 218 w 267"/>
                <a:gd name="T27" fmla="*/ 59 h 264"/>
                <a:gd name="T28" fmla="*/ 242 w 267"/>
                <a:gd name="T29" fmla="*/ 49 h 264"/>
                <a:gd name="T30" fmla="*/ 249 w 267"/>
                <a:gd name="T31" fmla="*/ 39 h 264"/>
                <a:gd name="T32" fmla="*/ 267 w 267"/>
                <a:gd name="T33" fmla="*/ 21 h 264"/>
                <a:gd name="T34" fmla="*/ 253 w 267"/>
                <a:gd name="T35" fmla="*/ 25 h 264"/>
                <a:gd name="T36" fmla="*/ 163 w 267"/>
                <a:gd name="T37" fmla="*/ 106 h 264"/>
                <a:gd name="T38" fmla="*/ 163 w 267"/>
                <a:gd name="T39" fmla="*/ 118 h 264"/>
                <a:gd name="T40" fmla="*/ 156 w 267"/>
                <a:gd name="T41" fmla="*/ 136 h 264"/>
                <a:gd name="T42" fmla="*/ 142 w 267"/>
                <a:gd name="T43" fmla="*/ 152 h 264"/>
                <a:gd name="T44" fmla="*/ 124 w 267"/>
                <a:gd name="T45" fmla="*/ 158 h 264"/>
                <a:gd name="T46" fmla="*/ 117 w 267"/>
                <a:gd name="T47" fmla="*/ 153 h 264"/>
                <a:gd name="T48" fmla="*/ 109 w 267"/>
                <a:gd name="T49" fmla="*/ 171 h 264"/>
                <a:gd name="T50" fmla="*/ 102 w 267"/>
                <a:gd name="T51" fmla="*/ 182 h 264"/>
                <a:gd name="T52" fmla="*/ 92 w 267"/>
                <a:gd name="T53" fmla="*/ 183 h 264"/>
                <a:gd name="T54" fmla="*/ 68 w 267"/>
                <a:gd name="T55" fmla="*/ 186 h 264"/>
                <a:gd name="T56" fmla="*/ 49 w 267"/>
                <a:gd name="T57" fmla="*/ 188 h 264"/>
                <a:gd name="T58" fmla="*/ 21 w 267"/>
                <a:gd name="T59" fmla="*/ 207 h 264"/>
                <a:gd name="T60" fmla="*/ 29 w 267"/>
                <a:gd name="T61" fmla="*/ 213 h 264"/>
                <a:gd name="T62" fmla="*/ 57 w 267"/>
                <a:gd name="T63" fmla="*/ 204 h 264"/>
                <a:gd name="T64" fmla="*/ 89 w 267"/>
                <a:gd name="T65" fmla="*/ 203 h 264"/>
                <a:gd name="T66" fmla="*/ 90 w 267"/>
                <a:gd name="T67" fmla="*/ 218 h 264"/>
                <a:gd name="T68" fmla="*/ 114 w 267"/>
                <a:gd name="T69" fmla="*/ 206 h 264"/>
                <a:gd name="T70" fmla="*/ 117 w 267"/>
                <a:gd name="T71" fmla="*/ 200 h 264"/>
                <a:gd name="T72" fmla="*/ 136 w 267"/>
                <a:gd name="T73" fmla="*/ 199 h 264"/>
                <a:gd name="T74" fmla="*/ 149 w 267"/>
                <a:gd name="T75" fmla="*/ 200 h 264"/>
                <a:gd name="T76" fmla="*/ 157 w 267"/>
                <a:gd name="T77" fmla="*/ 190 h 264"/>
                <a:gd name="T78" fmla="*/ 172 w 267"/>
                <a:gd name="T79" fmla="*/ 189 h 264"/>
                <a:gd name="T80" fmla="*/ 177 w 267"/>
                <a:gd name="T81" fmla="*/ 167 h 264"/>
                <a:gd name="T82" fmla="*/ 181 w 267"/>
                <a:gd name="T83" fmla="*/ 142 h 264"/>
                <a:gd name="T84" fmla="*/ 196 w 267"/>
                <a:gd name="T85" fmla="*/ 122 h 264"/>
                <a:gd name="T86" fmla="*/ 186 w 267"/>
                <a:gd name="T87" fmla="*/ 81 h 264"/>
                <a:gd name="T88" fmla="*/ 65 w 267"/>
                <a:gd name="T89" fmla="*/ 210 h 264"/>
                <a:gd name="T90" fmla="*/ 46 w 267"/>
                <a:gd name="T91" fmla="*/ 217 h 264"/>
                <a:gd name="T92" fmla="*/ 52 w 267"/>
                <a:gd name="T93" fmla="*/ 235 h 264"/>
                <a:gd name="T94" fmla="*/ 63 w 267"/>
                <a:gd name="T95" fmla="*/ 225 h 264"/>
                <a:gd name="T96" fmla="*/ 78 w 267"/>
                <a:gd name="T97" fmla="*/ 221 h 264"/>
                <a:gd name="T98" fmla="*/ 74 w 267"/>
                <a:gd name="T99" fmla="*/ 206 h 264"/>
                <a:gd name="T100" fmla="*/ 34 w 267"/>
                <a:gd name="T101" fmla="*/ 228 h 264"/>
                <a:gd name="T102" fmla="*/ 22 w 267"/>
                <a:gd name="T103" fmla="*/ 220 h 264"/>
                <a:gd name="T104" fmla="*/ 9 w 267"/>
                <a:gd name="T105" fmla="*/ 222 h 264"/>
                <a:gd name="T106" fmla="*/ 7 w 267"/>
                <a:gd name="T107" fmla="*/ 235 h 264"/>
                <a:gd name="T108" fmla="*/ 14 w 267"/>
                <a:gd name="T109" fmla="*/ 232 h 264"/>
                <a:gd name="T110" fmla="*/ 16 w 267"/>
                <a:gd name="T111" fmla="*/ 263 h 264"/>
                <a:gd name="T112" fmla="*/ 27 w 267"/>
                <a:gd name="T113" fmla="*/ 254 h 264"/>
                <a:gd name="T114" fmla="*/ 38 w 267"/>
                <a:gd name="T115" fmla="*/ 231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67" h="264">
                  <a:moveTo>
                    <a:pt x="253" y="25"/>
                  </a:moveTo>
                  <a:lnTo>
                    <a:pt x="253" y="25"/>
                  </a:lnTo>
                  <a:lnTo>
                    <a:pt x="252" y="24"/>
                  </a:lnTo>
                  <a:lnTo>
                    <a:pt x="249" y="24"/>
                  </a:lnTo>
                  <a:lnTo>
                    <a:pt x="246" y="25"/>
                  </a:lnTo>
                  <a:lnTo>
                    <a:pt x="242" y="28"/>
                  </a:lnTo>
                  <a:lnTo>
                    <a:pt x="236" y="29"/>
                  </a:lnTo>
                  <a:lnTo>
                    <a:pt x="236" y="29"/>
                  </a:lnTo>
                  <a:lnTo>
                    <a:pt x="233" y="29"/>
                  </a:lnTo>
                  <a:lnTo>
                    <a:pt x="229" y="27"/>
                  </a:lnTo>
                  <a:lnTo>
                    <a:pt x="220" y="21"/>
                  </a:lnTo>
                  <a:lnTo>
                    <a:pt x="208" y="11"/>
                  </a:lnTo>
                  <a:lnTo>
                    <a:pt x="203" y="4"/>
                  </a:lnTo>
                  <a:lnTo>
                    <a:pt x="203" y="4"/>
                  </a:lnTo>
                  <a:lnTo>
                    <a:pt x="200" y="2"/>
                  </a:lnTo>
                  <a:lnTo>
                    <a:pt x="197" y="0"/>
                  </a:lnTo>
                  <a:lnTo>
                    <a:pt x="196" y="0"/>
                  </a:lnTo>
                  <a:lnTo>
                    <a:pt x="193" y="2"/>
                  </a:lnTo>
                  <a:lnTo>
                    <a:pt x="192" y="3"/>
                  </a:lnTo>
                  <a:lnTo>
                    <a:pt x="190" y="4"/>
                  </a:lnTo>
                  <a:lnTo>
                    <a:pt x="190" y="7"/>
                  </a:lnTo>
                  <a:lnTo>
                    <a:pt x="192" y="9"/>
                  </a:lnTo>
                  <a:lnTo>
                    <a:pt x="192" y="9"/>
                  </a:lnTo>
                  <a:lnTo>
                    <a:pt x="195" y="13"/>
                  </a:lnTo>
                  <a:lnTo>
                    <a:pt x="193" y="15"/>
                  </a:lnTo>
                  <a:lnTo>
                    <a:pt x="192" y="20"/>
                  </a:lnTo>
                  <a:lnTo>
                    <a:pt x="192" y="25"/>
                  </a:lnTo>
                  <a:lnTo>
                    <a:pt x="192" y="25"/>
                  </a:lnTo>
                  <a:lnTo>
                    <a:pt x="190" y="29"/>
                  </a:lnTo>
                  <a:lnTo>
                    <a:pt x="189" y="34"/>
                  </a:lnTo>
                  <a:lnTo>
                    <a:pt x="186" y="35"/>
                  </a:lnTo>
                  <a:lnTo>
                    <a:pt x="186" y="39"/>
                  </a:lnTo>
                  <a:lnTo>
                    <a:pt x="186" y="39"/>
                  </a:lnTo>
                  <a:lnTo>
                    <a:pt x="186" y="40"/>
                  </a:lnTo>
                  <a:lnTo>
                    <a:pt x="186" y="42"/>
                  </a:lnTo>
                  <a:lnTo>
                    <a:pt x="182" y="43"/>
                  </a:lnTo>
                  <a:lnTo>
                    <a:pt x="174" y="45"/>
                  </a:lnTo>
                  <a:lnTo>
                    <a:pt x="174" y="45"/>
                  </a:lnTo>
                  <a:lnTo>
                    <a:pt x="171" y="46"/>
                  </a:lnTo>
                  <a:lnTo>
                    <a:pt x="171" y="49"/>
                  </a:lnTo>
                  <a:lnTo>
                    <a:pt x="171" y="52"/>
                  </a:lnTo>
                  <a:lnTo>
                    <a:pt x="168" y="54"/>
                  </a:lnTo>
                  <a:lnTo>
                    <a:pt x="168" y="54"/>
                  </a:lnTo>
                  <a:lnTo>
                    <a:pt x="164" y="56"/>
                  </a:lnTo>
                  <a:lnTo>
                    <a:pt x="163" y="59"/>
                  </a:lnTo>
                  <a:lnTo>
                    <a:pt x="163" y="61"/>
                  </a:lnTo>
                  <a:lnTo>
                    <a:pt x="165" y="63"/>
                  </a:lnTo>
                  <a:lnTo>
                    <a:pt x="165" y="63"/>
                  </a:lnTo>
                  <a:lnTo>
                    <a:pt x="167" y="65"/>
                  </a:lnTo>
                  <a:lnTo>
                    <a:pt x="167" y="68"/>
                  </a:lnTo>
                  <a:lnTo>
                    <a:pt x="165" y="75"/>
                  </a:lnTo>
                  <a:lnTo>
                    <a:pt x="165" y="75"/>
                  </a:lnTo>
                  <a:lnTo>
                    <a:pt x="165" y="77"/>
                  </a:lnTo>
                  <a:lnTo>
                    <a:pt x="167" y="77"/>
                  </a:lnTo>
                  <a:lnTo>
                    <a:pt x="172" y="72"/>
                  </a:lnTo>
                  <a:lnTo>
                    <a:pt x="172" y="72"/>
                  </a:lnTo>
                  <a:lnTo>
                    <a:pt x="175" y="70"/>
                  </a:lnTo>
                  <a:lnTo>
                    <a:pt x="178" y="71"/>
                  </a:lnTo>
                  <a:lnTo>
                    <a:pt x="179" y="71"/>
                  </a:lnTo>
                  <a:lnTo>
                    <a:pt x="181" y="70"/>
                  </a:lnTo>
                  <a:lnTo>
                    <a:pt x="181" y="70"/>
                  </a:lnTo>
                  <a:lnTo>
                    <a:pt x="181" y="68"/>
                  </a:lnTo>
                  <a:lnTo>
                    <a:pt x="179" y="67"/>
                  </a:lnTo>
                  <a:lnTo>
                    <a:pt x="177" y="64"/>
                  </a:lnTo>
                  <a:lnTo>
                    <a:pt x="174" y="61"/>
                  </a:lnTo>
                  <a:lnTo>
                    <a:pt x="172" y="60"/>
                  </a:lnTo>
                  <a:lnTo>
                    <a:pt x="172" y="59"/>
                  </a:lnTo>
                  <a:lnTo>
                    <a:pt x="172" y="59"/>
                  </a:lnTo>
                  <a:lnTo>
                    <a:pt x="172" y="57"/>
                  </a:lnTo>
                  <a:lnTo>
                    <a:pt x="174" y="57"/>
                  </a:lnTo>
                  <a:lnTo>
                    <a:pt x="177" y="57"/>
                  </a:lnTo>
                  <a:lnTo>
                    <a:pt x="181" y="57"/>
                  </a:lnTo>
                  <a:lnTo>
                    <a:pt x="185" y="57"/>
                  </a:lnTo>
                  <a:lnTo>
                    <a:pt x="185" y="57"/>
                  </a:lnTo>
                  <a:lnTo>
                    <a:pt x="190" y="56"/>
                  </a:lnTo>
                  <a:lnTo>
                    <a:pt x="196" y="57"/>
                  </a:lnTo>
                  <a:lnTo>
                    <a:pt x="203" y="59"/>
                  </a:lnTo>
                  <a:lnTo>
                    <a:pt x="208" y="63"/>
                  </a:lnTo>
                  <a:lnTo>
                    <a:pt x="208" y="63"/>
                  </a:lnTo>
                  <a:lnTo>
                    <a:pt x="213" y="65"/>
                  </a:lnTo>
                  <a:lnTo>
                    <a:pt x="215" y="65"/>
                  </a:lnTo>
                  <a:lnTo>
                    <a:pt x="217" y="63"/>
                  </a:lnTo>
                  <a:lnTo>
                    <a:pt x="218" y="59"/>
                  </a:lnTo>
                  <a:lnTo>
                    <a:pt x="218" y="59"/>
                  </a:lnTo>
                  <a:lnTo>
                    <a:pt x="220" y="56"/>
                  </a:lnTo>
                  <a:lnTo>
                    <a:pt x="221" y="54"/>
                  </a:lnTo>
                  <a:lnTo>
                    <a:pt x="227" y="50"/>
                  </a:lnTo>
                  <a:lnTo>
                    <a:pt x="233" y="49"/>
                  </a:lnTo>
                  <a:lnTo>
                    <a:pt x="242" y="49"/>
                  </a:lnTo>
                  <a:lnTo>
                    <a:pt x="242" y="49"/>
                  </a:lnTo>
                  <a:lnTo>
                    <a:pt x="247" y="47"/>
                  </a:lnTo>
                  <a:lnTo>
                    <a:pt x="250" y="46"/>
                  </a:lnTo>
                  <a:lnTo>
                    <a:pt x="252" y="43"/>
                  </a:lnTo>
                  <a:lnTo>
                    <a:pt x="250" y="40"/>
                  </a:lnTo>
                  <a:lnTo>
                    <a:pt x="250" y="40"/>
                  </a:lnTo>
                  <a:lnTo>
                    <a:pt x="249" y="39"/>
                  </a:lnTo>
                  <a:lnTo>
                    <a:pt x="252" y="38"/>
                  </a:lnTo>
                  <a:lnTo>
                    <a:pt x="257" y="32"/>
                  </a:lnTo>
                  <a:lnTo>
                    <a:pt x="264" y="25"/>
                  </a:lnTo>
                  <a:lnTo>
                    <a:pt x="265" y="24"/>
                  </a:lnTo>
                  <a:lnTo>
                    <a:pt x="267" y="21"/>
                  </a:lnTo>
                  <a:lnTo>
                    <a:pt x="267" y="21"/>
                  </a:lnTo>
                  <a:lnTo>
                    <a:pt x="265" y="21"/>
                  </a:lnTo>
                  <a:lnTo>
                    <a:pt x="264" y="21"/>
                  </a:lnTo>
                  <a:lnTo>
                    <a:pt x="260" y="24"/>
                  </a:lnTo>
                  <a:lnTo>
                    <a:pt x="256" y="27"/>
                  </a:lnTo>
                  <a:lnTo>
                    <a:pt x="254" y="27"/>
                  </a:lnTo>
                  <a:lnTo>
                    <a:pt x="253" y="25"/>
                  </a:lnTo>
                  <a:lnTo>
                    <a:pt x="253" y="25"/>
                  </a:lnTo>
                  <a:close/>
                  <a:moveTo>
                    <a:pt x="167" y="89"/>
                  </a:moveTo>
                  <a:lnTo>
                    <a:pt x="167" y="89"/>
                  </a:lnTo>
                  <a:lnTo>
                    <a:pt x="164" y="93"/>
                  </a:lnTo>
                  <a:lnTo>
                    <a:pt x="163" y="99"/>
                  </a:lnTo>
                  <a:lnTo>
                    <a:pt x="163" y="106"/>
                  </a:lnTo>
                  <a:lnTo>
                    <a:pt x="163" y="107"/>
                  </a:lnTo>
                  <a:lnTo>
                    <a:pt x="164" y="110"/>
                  </a:lnTo>
                  <a:lnTo>
                    <a:pt x="164" y="110"/>
                  </a:lnTo>
                  <a:lnTo>
                    <a:pt x="165" y="111"/>
                  </a:lnTo>
                  <a:lnTo>
                    <a:pt x="165" y="114"/>
                  </a:lnTo>
                  <a:lnTo>
                    <a:pt x="163" y="118"/>
                  </a:lnTo>
                  <a:lnTo>
                    <a:pt x="158" y="124"/>
                  </a:lnTo>
                  <a:lnTo>
                    <a:pt x="157" y="128"/>
                  </a:lnTo>
                  <a:lnTo>
                    <a:pt x="157" y="131"/>
                  </a:lnTo>
                  <a:lnTo>
                    <a:pt x="157" y="131"/>
                  </a:lnTo>
                  <a:lnTo>
                    <a:pt x="156" y="133"/>
                  </a:lnTo>
                  <a:lnTo>
                    <a:pt x="156" y="136"/>
                  </a:lnTo>
                  <a:lnTo>
                    <a:pt x="153" y="139"/>
                  </a:lnTo>
                  <a:lnTo>
                    <a:pt x="149" y="142"/>
                  </a:lnTo>
                  <a:lnTo>
                    <a:pt x="147" y="146"/>
                  </a:lnTo>
                  <a:lnTo>
                    <a:pt x="147" y="146"/>
                  </a:lnTo>
                  <a:lnTo>
                    <a:pt x="145" y="149"/>
                  </a:lnTo>
                  <a:lnTo>
                    <a:pt x="142" y="152"/>
                  </a:lnTo>
                  <a:lnTo>
                    <a:pt x="138" y="153"/>
                  </a:lnTo>
                  <a:lnTo>
                    <a:pt x="132" y="157"/>
                  </a:lnTo>
                  <a:lnTo>
                    <a:pt x="132" y="157"/>
                  </a:lnTo>
                  <a:lnTo>
                    <a:pt x="129" y="158"/>
                  </a:lnTo>
                  <a:lnTo>
                    <a:pt x="127" y="160"/>
                  </a:lnTo>
                  <a:lnTo>
                    <a:pt x="124" y="158"/>
                  </a:lnTo>
                  <a:lnTo>
                    <a:pt x="122" y="156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22" y="150"/>
                  </a:lnTo>
                  <a:lnTo>
                    <a:pt x="121" y="150"/>
                  </a:lnTo>
                  <a:lnTo>
                    <a:pt x="117" y="153"/>
                  </a:lnTo>
                  <a:lnTo>
                    <a:pt x="113" y="157"/>
                  </a:lnTo>
                  <a:lnTo>
                    <a:pt x="111" y="161"/>
                  </a:lnTo>
                  <a:lnTo>
                    <a:pt x="111" y="164"/>
                  </a:lnTo>
                  <a:lnTo>
                    <a:pt x="111" y="164"/>
                  </a:lnTo>
                  <a:lnTo>
                    <a:pt x="110" y="168"/>
                  </a:lnTo>
                  <a:lnTo>
                    <a:pt x="109" y="171"/>
                  </a:lnTo>
                  <a:lnTo>
                    <a:pt x="104" y="174"/>
                  </a:lnTo>
                  <a:lnTo>
                    <a:pt x="102" y="176"/>
                  </a:lnTo>
                  <a:lnTo>
                    <a:pt x="100" y="178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2"/>
                  </a:lnTo>
                  <a:lnTo>
                    <a:pt x="100" y="183"/>
                  </a:lnTo>
                  <a:lnTo>
                    <a:pt x="97" y="185"/>
                  </a:lnTo>
                  <a:lnTo>
                    <a:pt x="93" y="185"/>
                  </a:lnTo>
                  <a:lnTo>
                    <a:pt x="92" y="185"/>
                  </a:lnTo>
                  <a:lnTo>
                    <a:pt x="92" y="183"/>
                  </a:lnTo>
                  <a:lnTo>
                    <a:pt x="92" y="183"/>
                  </a:lnTo>
                  <a:lnTo>
                    <a:pt x="90" y="182"/>
                  </a:lnTo>
                  <a:lnTo>
                    <a:pt x="90" y="181"/>
                  </a:lnTo>
                  <a:lnTo>
                    <a:pt x="86" y="181"/>
                  </a:lnTo>
                  <a:lnTo>
                    <a:pt x="72" y="186"/>
                  </a:lnTo>
                  <a:lnTo>
                    <a:pt x="72" y="186"/>
                  </a:lnTo>
                  <a:lnTo>
                    <a:pt x="68" y="186"/>
                  </a:lnTo>
                  <a:lnTo>
                    <a:pt x="65" y="186"/>
                  </a:lnTo>
                  <a:lnTo>
                    <a:pt x="59" y="186"/>
                  </a:lnTo>
                  <a:lnTo>
                    <a:pt x="54" y="185"/>
                  </a:lnTo>
                  <a:lnTo>
                    <a:pt x="52" y="185"/>
                  </a:lnTo>
                  <a:lnTo>
                    <a:pt x="49" y="188"/>
                  </a:lnTo>
                  <a:lnTo>
                    <a:pt x="49" y="188"/>
                  </a:lnTo>
                  <a:lnTo>
                    <a:pt x="38" y="197"/>
                  </a:lnTo>
                  <a:lnTo>
                    <a:pt x="31" y="203"/>
                  </a:lnTo>
                  <a:lnTo>
                    <a:pt x="25" y="206"/>
                  </a:lnTo>
                  <a:lnTo>
                    <a:pt x="25" y="206"/>
                  </a:lnTo>
                  <a:lnTo>
                    <a:pt x="22" y="206"/>
                  </a:lnTo>
                  <a:lnTo>
                    <a:pt x="21" y="207"/>
                  </a:lnTo>
                  <a:lnTo>
                    <a:pt x="21" y="211"/>
                  </a:lnTo>
                  <a:lnTo>
                    <a:pt x="22" y="214"/>
                  </a:lnTo>
                  <a:lnTo>
                    <a:pt x="24" y="214"/>
                  </a:lnTo>
                  <a:lnTo>
                    <a:pt x="25" y="214"/>
                  </a:lnTo>
                  <a:lnTo>
                    <a:pt x="25" y="214"/>
                  </a:lnTo>
                  <a:lnTo>
                    <a:pt x="29" y="213"/>
                  </a:lnTo>
                  <a:lnTo>
                    <a:pt x="35" y="213"/>
                  </a:lnTo>
                  <a:lnTo>
                    <a:pt x="39" y="213"/>
                  </a:lnTo>
                  <a:lnTo>
                    <a:pt x="42" y="210"/>
                  </a:lnTo>
                  <a:lnTo>
                    <a:pt x="42" y="210"/>
                  </a:lnTo>
                  <a:lnTo>
                    <a:pt x="47" y="207"/>
                  </a:lnTo>
                  <a:lnTo>
                    <a:pt x="57" y="204"/>
                  </a:lnTo>
                  <a:lnTo>
                    <a:pt x="70" y="201"/>
                  </a:lnTo>
                  <a:lnTo>
                    <a:pt x="82" y="200"/>
                  </a:lnTo>
                  <a:lnTo>
                    <a:pt x="82" y="200"/>
                  </a:lnTo>
                  <a:lnTo>
                    <a:pt x="86" y="200"/>
                  </a:lnTo>
                  <a:lnTo>
                    <a:pt x="88" y="201"/>
                  </a:lnTo>
                  <a:lnTo>
                    <a:pt x="89" y="203"/>
                  </a:lnTo>
                  <a:lnTo>
                    <a:pt x="89" y="204"/>
                  </a:lnTo>
                  <a:lnTo>
                    <a:pt x="89" y="208"/>
                  </a:lnTo>
                  <a:lnTo>
                    <a:pt x="88" y="214"/>
                  </a:lnTo>
                  <a:lnTo>
                    <a:pt x="88" y="214"/>
                  </a:lnTo>
                  <a:lnTo>
                    <a:pt x="89" y="217"/>
                  </a:lnTo>
                  <a:lnTo>
                    <a:pt x="90" y="218"/>
                  </a:lnTo>
                  <a:lnTo>
                    <a:pt x="96" y="220"/>
                  </a:lnTo>
                  <a:lnTo>
                    <a:pt x="102" y="218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14" y="207"/>
                  </a:lnTo>
                  <a:lnTo>
                    <a:pt x="114" y="206"/>
                  </a:lnTo>
                  <a:lnTo>
                    <a:pt x="113" y="203"/>
                  </a:lnTo>
                  <a:lnTo>
                    <a:pt x="113" y="203"/>
                  </a:lnTo>
                  <a:lnTo>
                    <a:pt x="110" y="200"/>
                  </a:lnTo>
                  <a:lnTo>
                    <a:pt x="111" y="197"/>
                  </a:lnTo>
                  <a:lnTo>
                    <a:pt x="114" y="197"/>
                  </a:lnTo>
                  <a:lnTo>
                    <a:pt x="117" y="200"/>
                  </a:lnTo>
                  <a:lnTo>
                    <a:pt x="117" y="200"/>
                  </a:lnTo>
                  <a:lnTo>
                    <a:pt x="121" y="203"/>
                  </a:lnTo>
                  <a:lnTo>
                    <a:pt x="127" y="204"/>
                  </a:lnTo>
                  <a:lnTo>
                    <a:pt x="132" y="203"/>
                  </a:lnTo>
                  <a:lnTo>
                    <a:pt x="135" y="201"/>
                  </a:lnTo>
                  <a:lnTo>
                    <a:pt x="136" y="199"/>
                  </a:lnTo>
                  <a:lnTo>
                    <a:pt x="136" y="199"/>
                  </a:lnTo>
                  <a:lnTo>
                    <a:pt x="139" y="196"/>
                  </a:lnTo>
                  <a:lnTo>
                    <a:pt x="142" y="197"/>
                  </a:lnTo>
                  <a:lnTo>
                    <a:pt x="145" y="199"/>
                  </a:lnTo>
                  <a:lnTo>
                    <a:pt x="149" y="200"/>
                  </a:lnTo>
                  <a:lnTo>
                    <a:pt x="149" y="200"/>
                  </a:lnTo>
                  <a:lnTo>
                    <a:pt x="150" y="199"/>
                  </a:lnTo>
                  <a:lnTo>
                    <a:pt x="152" y="197"/>
                  </a:lnTo>
                  <a:lnTo>
                    <a:pt x="154" y="193"/>
                  </a:lnTo>
                  <a:lnTo>
                    <a:pt x="157" y="190"/>
                  </a:lnTo>
                  <a:lnTo>
                    <a:pt x="157" y="189"/>
                  </a:lnTo>
                  <a:lnTo>
                    <a:pt x="157" y="190"/>
                  </a:lnTo>
                  <a:lnTo>
                    <a:pt x="157" y="190"/>
                  </a:lnTo>
                  <a:lnTo>
                    <a:pt x="158" y="192"/>
                  </a:lnTo>
                  <a:lnTo>
                    <a:pt x="158" y="193"/>
                  </a:lnTo>
                  <a:lnTo>
                    <a:pt x="163" y="193"/>
                  </a:lnTo>
                  <a:lnTo>
                    <a:pt x="168" y="192"/>
                  </a:lnTo>
                  <a:lnTo>
                    <a:pt x="172" y="189"/>
                  </a:lnTo>
                  <a:lnTo>
                    <a:pt x="172" y="189"/>
                  </a:lnTo>
                  <a:lnTo>
                    <a:pt x="174" y="186"/>
                  </a:lnTo>
                  <a:lnTo>
                    <a:pt x="175" y="183"/>
                  </a:lnTo>
                  <a:lnTo>
                    <a:pt x="175" y="176"/>
                  </a:lnTo>
                  <a:lnTo>
                    <a:pt x="175" y="171"/>
                  </a:lnTo>
                  <a:lnTo>
                    <a:pt x="177" y="167"/>
                  </a:lnTo>
                  <a:lnTo>
                    <a:pt x="177" y="167"/>
                  </a:lnTo>
                  <a:lnTo>
                    <a:pt x="179" y="161"/>
                  </a:lnTo>
                  <a:lnTo>
                    <a:pt x="181" y="154"/>
                  </a:lnTo>
                  <a:lnTo>
                    <a:pt x="182" y="147"/>
                  </a:lnTo>
                  <a:lnTo>
                    <a:pt x="181" y="142"/>
                  </a:lnTo>
                  <a:lnTo>
                    <a:pt x="181" y="142"/>
                  </a:lnTo>
                  <a:lnTo>
                    <a:pt x="179" y="139"/>
                  </a:lnTo>
                  <a:lnTo>
                    <a:pt x="179" y="138"/>
                  </a:lnTo>
                  <a:lnTo>
                    <a:pt x="183" y="133"/>
                  </a:lnTo>
                  <a:lnTo>
                    <a:pt x="195" y="125"/>
                  </a:lnTo>
                  <a:lnTo>
                    <a:pt x="195" y="125"/>
                  </a:lnTo>
                  <a:lnTo>
                    <a:pt x="196" y="122"/>
                  </a:lnTo>
                  <a:lnTo>
                    <a:pt x="196" y="117"/>
                  </a:lnTo>
                  <a:lnTo>
                    <a:pt x="193" y="106"/>
                  </a:lnTo>
                  <a:lnTo>
                    <a:pt x="189" y="93"/>
                  </a:lnTo>
                  <a:lnTo>
                    <a:pt x="188" y="83"/>
                  </a:lnTo>
                  <a:lnTo>
                    <a:pt x="188" y="83"/>
                  </a:lnTo>
                  <a:lnTo>
                    <a:pt x="186" y="81"/>
                  </a:lnTo>
                  <a:lnTo>
                    <a:pt x="185" y="81"/>
                  </a:lnTo>
                  <a:lnTo>
                    <a:pt x="179" y="82"/>
                  </a:lnTo>
                  <a:lnTo>
                    <a:pt x="167" y="89"/>
                  </a:lnTo>
                  <a:lnTo>
                    <a:pt x="167" y="89"/>
                  </a:lnTo>
                  <a:close/>
                  <a:moveTo>
                    <a:pt x="65" y="210"/>
                  </a:moveTo>
                  <a:lnTo>
                    <a:pt x="65" y="210"/>
                  </a:lnTo>
                  <a:lnTo>
                    <a:pt x="63" y="211"/>
                  </a:lnTo>
                  <a:lnTo>
                    <a:pt x="60" y="213"/>
                  </a:lnTo>
                  <a:lnTo>
                    <a:pt x="50" y="214"/>
                  </a:lnTo>
                  <a:lnTo>
                    <a:pt x="50" y="214"/>
                  </a:lnTo>
                  <a:lnTo>
                    <a:pt x="47" y="214"/>
                  </a:lnTo>
                  <a:lnTo>
                    <a:pt x="46" y="217"/>
                  </a:lnTo>
                  <a:lnTo>
                    <a:pt x="45" y="224"/>
                  </a:lnTo>
                  <a:lnTo>
                    <a:pt x="45" y="231"/>
                  </a:lnTo>
                  <a:lnTo>
                    <a:pt x="46" y="233"/>
                  </a:lnTo>
                  <a:lnTo>
                    <a:pt x="49" y="235"/>
                  </a:lnTo>
                  <a:lnTo>
                    <a:pt x="49" y="235"/>
                  </a:lnTo>
                  <a:lnTo>
                    <a:pt x="52" y="235"/>
                  </a:lnTo>
                  <a:lnTo>
                    <a:pt x="53" y="235"/>
                  </a:lnTo>
                  <a:lnTo>
                    <a:pt x="56" y="233"/>
                  </a:lnTo>
                  <a:lnTo>
                    <a:pt x="57" y="231"/>
                  </a:lnTo>
                  <a:lnTo>
                    <a:pt x="57" y="231"/>
                  </a:lnTo>
                  <a:lnTo>
                    <a:pt x="59" y="226"/>
                  </a:lnTo>
                  <a:lnTo>
                    <a:pt x="63" y="225"/>
                  </a:lnTo>
                  <a:lnTo>
                    <a:pt x="67" y="224"/>
                  </a:lnTo>
                  <a:lnTo>
                    <a:pt x="71" y="225"/>
                  </a:lnTo>
                  <a:lnTo>
                    <a:pt x="71" y="225"/>
                  </a:lnTo>
                  <a:lnTo>
                    <a:pt x="72" y="225"/>
                  </a:lnTo>
                  <a:lnTo>
                    <a:pt x="74" y="225"/>
                  </a:lnTo>
                  <a:lnTo>
                    <a:pt x="78" y="221"/>
                  </a:lnTo>
                  <a:lnTo>
                    <a:pt x="79" y="217"/>
                  </a:lnTo>
                  <a:lnTo>
                    <a:pt x="81" y="211"/>
                  </a:lnTo>
                  <a:lnTo>
                    <a:pt x="81" y="211"/>
                  </a:lnTo>
                  <a:lnTo>
                    <a:pt x="81" y="208"/>
                  </a:lnTo>
                  <a:lnTo>
                    <a:pt x="79" y="207"/>
                  </a:lnTo>
                  <a:lnTo>
                    <a:pt x="74" y="206"/>
                  </a:lnTo>
                  <a:lnTo>
                    <a:pt x="68" y="207"/>
                  </a:lnTo>
                  <a:lnTo>
                    <a:pt x="67" y="207"/>
                  </a:lnTo>
                  <a:lnTo>
                    <a:pt x="65" y="210"/>
                  </a:lnTo>
                  <a:lnTo>
                    <a:pt x="65" y="210"/>
                  </a:lnTo>
                  <a:close/>
                  <a:moveTo>
                    <a:pt x="34" y="228"/>
                  </a:moveTo>
                  <a:lnTo>
                    <a:pt x="34" y="228"/>
                  </a:lnTo>
                  <a:lnTo>
                    <a:pt x="34" y="225"/>
                  </a:lnTo>
                  <a:lnTo>
                    <a:pt x="32" y="225"/>
                  </a:lnTo>
                  <a:lnTo>
                    <a:pt x="28" y="224"/>
                  </a:lnTo>
                  <a:lnTo>
                    <a:pt x="25" y="222"/>
                  </a:lnTo>
                  <a:lnTo>
                    <a:pt x="24" y="221"/>
                  </a:lnTo>
                  <a:lnTo>
                    <a:pt x="22" y="220"/>
                  </a:lnTo>
                  <a:lnTo>
                    <a:pt x="22" y="220"/>
                  </a:lnTo>
                  <a:lnTo>
                    <a:pt x="21" y="217"/>
                  </a:lnTo>
                  <a:lnTo>
                    <a:pt x="18" y="218"/>
                  </a:lnTo>
                  <a:lnTo>
                    <a:pt x="14" y="220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2" y="228"/>
                  </a:lnTo>
                  <a:lnTo>
                    <a:pt x="0" y="231"/>
                  </a:lnTo>
                  <a:lnTo>
                    <a:pt x="2" y="233"/>
                  </a:lnTo>
                  <a:lnTo>
                    <a:pt x="2" y="233"/>
                  </a:lnTo>
                  <a:lnTo>
                    <a:pt x="4" y="236"/>
                  </a:lnTo>
                  <a:lnTo>
                    <a:pt x="7" y="235"/>
                  </a:lnTo>
                  <a:lnTo>
                    <a:pt x="9" y="232"/>
                  </a:lnTo>
                  <a:lnTo>
                    <a:pt x="11" y="229"/>
                  </a:lnTo>
                  <a:lnTo>
                    <a:pt x="11" y="229"/>
                  </a:lnTo>
                  <a:lnTo>
                    <a:pt x="11" y="228"/>
                  </a:lnTo>
                  <a:lnTo>
                    <a:pt x="13" y="228"/>
                  </a:lnTo>
                  <a:lnTo>
                    <a:pt x="14" y="232"/>
                  </a:lnTo>
                  <a:lnTo>
                    <a:pt x="14" y="238"/>
                  </a:lnTo>
                  <a:lnTo>
                    <a:pt x="13" y="245"/>
                  </a:lnTo>
                  <a:lnTo>
                    <a:pt x="13" y="245"/>
                  </a:lnTo>
                  <a:lnTo>
                    <a:pt x="11" y="251"/>
                  </a:lnTo>
                  <a:lnTo>
                    <a:pt x="13" y="258"/>
                  </a:lnTo>
                  <a:lnTo>
                    <a:pt x="16" y="263"/>
                  </a:lnTo>
                  <a:lnTo>
                    <a:pt x="17" y="264"/>
                  </a:lnTo>
                  <a:lnTo>
                    <a:pt x="20" y="264"/>
                  </a:lnTo>
                  <a:lnTo>
                    <a:pt x="20" y="264"/>
                  </a:lnTo>
                  <a:lnTo>
                    <a:pt x="21" y="263"/>
                  </a:lnTo>
                  <a:lnTo>
                    <a:pt x="22" y="261"/>
                  </a:lnTo>
                  <a:lnTo>
                    <a:pt x="27" y="254"/>
                  </a:lnTo>
                  <a:lnTo>
                    <a:pt x="32" y="245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9" y="233"/>
                  </a:lnTo>
                  <a:lnTo>
                    <a:pt x="39" y="232"/>
                  </a:lnTo>
                  <a:lnTo>
                    <a:pt x="38" y="231"/>
                  </a:lnTo>
                  <a:lnTo>
                    <a:pt x="35" y="229"/>
                  </a:lnTo>
                  <a:lnTo>
                    <a:pt x="34" y="229"/>
                  </a:lnTo>
                  <a:lnTo>
                    <a:pt x="34" y="228"/>
                  </a:lnTo>
                  <a:lnTo>
                    <a:pt x="34" y="22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39" name="Freeform 146"/>
            <p:cNvSpPr>
              <a:spLocks noEditPoints="1"/>
            </p:cNvSpPr>
            <p:nvPr/>
          </p:nvSpPr>
          <p:spPr bwMode="auto">
            <a:xfrm>
              <a:off x="6429376" y="2508250"/>
              <a:ext cx="1487488" cy="1022350"/>
            </a:xfrm>
            <a:custGeom>
              <a:avLst/>
              <a:gdLst>
                <a:gd name="T0" fmla="*/ 892 w 937"/>
                <a:gd name="T1" fmla="*/ 121 h 644"/>
                <a:gd name="T2" fmla="*/ 853 w 937"/>
                <a:gd name="T3" fmla="*/ 87 h 644"/>
                <a:gd name="T4" fmla="*/ 819 w 937"/>
                <a:gd name="T5" fmla="*/ 53 h 644"/>
                <a:gd name="T6" fmla="*/ 788 w 937"/>
                <a:gd name="T7" fmla="*/ 7 h 644"/>
                <a:gd name="T8" fmla="*/ 712 w 937"/>
                <a:gd name="T9" fmla="*/ 8 h 644"/>
                <a:gd name="T10" fmla="*/ 701 w 937"/>
                <a:gd name="T11" fmla="*/ 51 h 644"/>
                <a:gd name="T12" fmla="*/ 655 w 937"/>
                <a:gd name="T13" fmla="*/ 76 h 644"/>
                <a:gd name="T14" fmla="*/ 667 w 937"/>
                <a:gd name="T15" fmla="*/ 121 h 644"/>
                <a:gd name="T16" fmla="*/ 692 w 937"/>
                <a:gd name="T17" fmla="*/ 142 h 644"/>
                <a:gd name="T18" fmla="*/ 634 w 937"/>
                <a:gd name="T19" fmla="*/ 165 h 644"/>
                <a:gd name="T20" fmla="*/ 572 w 937"/>
                <a:gd name="T21" fmla="*/ 187 h 644"/>
                <a:gd name="T22" fmla="*/ 498 w 937"/>
                <a:gd name="T23" fmla="*/ 224 h 644"/>
                <a:gd name="T24" fmla="*/ 433 w 937"/>
                <a:gd name="T25" fmla="*/ 228 h 644"/>
                <a:gd name="T26" fmla="*/ 333 w 937"/>
                <a:gd name="T27" fmla="*/ 212 h 644"/>
                <a:gd name="T28" fmla="*/ 295 w 937"/>
                <a:gd name="T29" fmla="*/ 174 h 644"/>
                <a:gd name="T30" fmla="*/ 261 w 937"/>
                <a:gd name="T31" fmla="*/ 136 h 644"/>
                <a:gd name="T32" fmla="*/ 213 w 937"/>
                <a:gd name="T33" fmla="*/ 90 h 644"/>
                <a:gd name="T34" fmla="*/ 191 w 937"/>
                <a:gd name="T35" fmla="*/ 104 h 644"/>
                <a:gd name="T36" fmla="*/ 154 w 937"/>
                <a:gd name="T37" fmla="*/ 132 h 644"/>
                <a:gd name="T38" fmla="*/ 127 w 937"/>
                <a:gd name="T39" fmla="*/ 169 h 644"/>
                <a:gd name="T40" fmla="*/ 102 w 937"/>
                <a:gd name="T41" fmla="*/ 193 h 644"/>
                <a:gd name="T42" fmla="*/ 77 w 937"/>
                <a:gd name="T43" fmla="*/ 239 h 644"/>
                <a:gd name="T44" fmla="*/ 34 w 937"/>
                <a:gd name="T45" fmla="*/ 261 h 644"/>
                <a:gd name="T46" fmla="*/ 1 w 937"/>
                <a:gd name="T47" fmla="*/ 273 h 644"/>
                <a:gd name="T48" fmla="*/ 34 w 937"/>
                <a:gd name="T49" fmla="*/ 333 h 644"/>
                <a:gd name="T50" fmla="*/ 88 w 937"/>
                <a:gd name="T51" fmla="*/ 344 h 644"/>
                <a:gd name="T52" fmla="*/ 86 w 937"/>
                <a:gd name="T53" fmla="*/ 396 h 644"/>
                <a:gd name="T54" fmla="*/ 82 w 937"/>
                <a:gd name="T55" fmla="*/ 422 h 644"/>
                <a:gd name="T56" fmla="*/ 116 w 937"/>
                <a:gd name="T57" fmla="*/ 443 h 644"/>
                <a:gd name="T58" fmla="*/ 205 w 937"/>
                <a:gd name="T59" fmla="*/ 484 h 644"/>
                <a:gd name="T60" fmla="*/ 230 w 937"/>
                <a:gd name="T61" fmla="*/ 489 h 644"/>
                <a:gd name="T62" fmla="*/ 284 w 937"/>
                <a:gd name="T63" fmla="*/ 478 h 644"/>
                <a:gd name="T64" fmla="*/ 330 w 937"/>
                <a:gd name="T65" fmla="*/ 459 h 644"/>
                <a:gd name="T66" fmla="*/ 359 w 937"/>
                <a:gd name="T67" fmla="*/ 479 h 644"/>
                <a:gd name="T68" fmla="*/ 352 w 937"/>
                <a:gd name="T69" fmla="*/ 540 h 644"/>
                <a:gd name="T70" fmla="*/ 374 w 937"/>
                <a:gd name="T71" fmla="*/ 564 h 644"/>
                <a:gd name="T72" fmla="*/ 398 w 937"/>
                <a:gd name="T73" fmla="*/ 590 h 644"/>
                <a:gd name="T74" fmla="*/ 413 w 937"/>
                <a:gd name="T75" fmla="*/ 582 h 644"/>
                <a:gd name="T76" fmla="*/ 440 w 937"/>
                <a:gd name="T77" fmla="*/ 569 h 644"/>
                <a:gd name="T78" fmla="*/ 483 w 937"/>
                <a:gd name="T79" fmla="*/ 566 h 644"/>
                <a:gd name="T80" fmla="*/ 520 w 937"/>
                <a:gd name="T81" fmla="*/ 589 h 644"/>
                <a:gd name="T82" fmla="*/ 542 w 937"/>
                <a:gd name="T83" fmla="*/ 596 h 644"/>
                <a:gd name="T84" fmla="*/ 592 w 937"/>
                <a:gd name="T85" fmla="*/ 579 h 644"/>
                <a:gd name="T86" fmla="*/ 654 w 937"/>
                <a:gd name="T87" fmla="*/ 559 h 644"/>
                <a:gd name="T88" fmla="*/ 690 w 937"/>
                <a:gd name="T89" fmla="*/ 530 h 644"/>
                <a:gd name="T90" fmla="*/ 698 w 937"/>
                <a:gd name="T91" fmla="*/ 501 h 644"/>
                <a:gd name="T92" fmla="*/ 733 w 937"/>
                <a:gd name="T93" fmla="*/ 459 h 644"/>
                <a:gd name="T94" fmla="*/ 724 w 937"/>
                <a:gd name="T95" fmla="*/ 443 h 644"/>
                <a:gd name="T96" fmla="*/ 724 w 937"/>
                <a:gd name="T97" fmla="*/ 425 h 644"/>
                <a:gd name="T98" fmla="*/ 729 w 937"/>
                <a:gd name="T99" fmla="*/ 410 h 644"/>
                <a:gd name="T100" fmla="*/ 692 w 937"/>
                <a:gd name="T101" fmla="*/ 360 h 644"/>
                <a:gd name="T102" fmla="*/ 724 w 937"/>
                <a:gd name="T103" fmla="*/ 330 h 644"/>
                <a:gd name="T104" fmla="*/ 720 w 937"/>
                <a:gd name="T105" fmla="*/ 308 h 644"/>
                <a:gd name="T106" fmla="*/ 680 w 937"/>
                <a:gd name="T107" fmla="*/ 304 h 644"/>
                <a:gd name="T108" fmla="*/ 692 w 937"/>
                <a:gd name="T109" fmla="*/ 279 h 644"/>
                <a:gd name="T110" fmla="*/ 738 w 937"/>
                <a:gd name="T111" fmla="*/ 264 h 644"/>
                <a:gd name="T112" fmla="*/ 763 w 937"/>
                <a:gd name="T113" fmla="*/ 272 h 644"/>
                <a:gd name="T114" fmla="*/ 822 w 937"/>
                <a:gd name="T115" fmla="*/ 240 h 644"/>
                <a:gd name="T116" fmla="*/ 855 w 937"/>
                <a:gd name="T117" fmla="*/ 222 h 644"/>
                <a:gd name="T118" fmla="*/ 881 w 937"/>
                <a:gd name="T119" fmla="*/ 200 h 644"/>
                <a:gd name="T120" fmla="*/ 908 w 937"/>
                <a:gd name="T121" fmla="*/ 172 h 644"/>
                <a:gd name="T122" fmla="*/ 935 w 937"/>
                <a:gd name="T123" fmla="*/ 128 h 644"/>
                <a:gd name="T124" fmla="*/ 538 w 937"/>
                <a:gd name="T125" fmla="*/ 644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37" h="644">
                  <a:moveTo>
                    <a:pt x="934" y="115"/>
                  </a:moveTo>
                  <a:lnTo>
                    <a:pt x="934" y="115"/>
                  </a:lnTo>
                  <a:lnTo>
                    <a:pt x="934" y="112"/>
                  </a:lnTo>
                  <a:lnTo>
                    <a:pt x="933" y="110"/>
                  </a:lnTo>
                  <a:lnTo>
                    <a:pt x="930" y="110"/>
                  </a:lnTo>
                  <a:lnTo>
                    <a:pt x="926" y="110"/>
                  </a:lnTo>
                  <a:lnTo>
                    <a:pt x="921" y="111"/>
                  </a:lnTo>
                  <a:lnTo>
                    <a:pt x="921" y="111"/>
                  </a:lnTo>
                  <a:lnTo>
                    <a:pt x="919" y="112"/>
                  </a:lnTo>
                  <a:lnTo>
                    <a:pt x="915" y="112"/>
                  </a:lnTo>
                  <a:lnTo>
                    <a:pt x="909" y="114"/>
                  </a:lnTo>
                  <a:lnTo>
                    <a:pt x="906" y="117"/>
                  </a:lnTo>
                  <a:lnTo>
                    <a:pt x="906" y="117"/>
                  </a:lnTo>
                  <a:lnTo>
                    <a:pt x="903" y="119"/>
                  </a:lnTo>
                  <a:lnTo>
                    <a:pt x="901" y="121"/>
                  </a:lnTo>
                  <a:lnTo>
                    <a:pt x="892" y="121"/>
                  </a:lnTo>
                  <a:lnTo>
                    <a:pt x="892" y="121"/>
                  </a:lnTo>
                  <a:lnTo>
                    <a:pt x="887" y="121"/>
                  </a:lnTo>
                  <a:lnTo>
                    <a:pt x="883" y="119"/>
                  </a:lnTo>
                  <a:lnTo>
                    <a:pt x="878" y="117"/>
                  </a:lnTo>
                  <a:lnTo>
                    <a:pt x="877" y="114"/>
                  </a:lnTo>
                  <a:lnTo>
                    <a:pt x="877" y="114"/>
                  </a:lnTo>
                  <a:lnTo>
                    <a:pt x="877" y="111"/>
                  </a:lnTo>
                  <a:lnTo>
                    <a:pt x="876" y="108"/>
                  </a:lnTo>
                  <a:lnTo>
                    <a:pt x="874" y="104"/>
                  </a:lnTo>
                  <a:lnTo>
                    <a:pt x="874" y="101"/>
                  </a:lnTo>
                  <a:lnTo>
                    <a:pt x="874" y="101"/>
                  </a:lnTo>
                  <a:lnTo>
                    <a:pt x="873" y="99"/>
                  </a:lnTo>
                  <a:lnTo>
                    <a:pt x="870" y="97"/>
                  </a:lnTo>
                  <a:lnTo>
                    <a:pt x="867" y="96"/>
                  </a:lnTo>
                  <a:lnTo>
                    <a:pt x="863" y="93"/>
                  </a:lnTo>
                  <a:lnTo>
                    <a:pt x="863" y="93"/>
                  </a:lnTo>
                  <a:lnTo>
                    <a:pt x="859" y="90"/>
                  </a:lnTo>
                  <a:lnTo>
                    <a:pt x="853" y="87"/>
                  </a:lnTo>
                  <a:lnTo>
                    <a:pt x="849" y="86"/>
                  </a:lnTo>
                  <a:lnTo>
                    <a:pt x="848" y="86"/>
                  </a:lnTo>
                  <a:lnTo>
                    <a:pt x="848" y="86"/>
                  </a:lnTo>
                  <a:lnTo>
                    <a:pt x="845" y="86"/>
                  </a:lnTo>
                  <a:lnTo>
                    <a:pt x="842" y="85"/>
                  </a:lnTo>
                  <a:lnTo>
                    <a:pt x="837" y="82"/>
                  </a:lnTo>
                  <a:lnTo>
                    <a:pt x="833" y="81"/>
                  </a:lnTo>
                  <a:lnTo>
                    <a:pt x="833" y="81"/>
                  </a:lnTo>
                  <a:lnTo>
                    <a:pt x="827" y="79"/>
                  </a:lnTo>
                  <a:lnTo>
                    <a:pt x="826" y="78"/>
                  </a:lnTo>
                  <a:lnTo>
                    <a:pt x="826" y="75"/>
                  </a:lnTo>
                  <a:lnTo>
                    <a:pt x="826" y="72"/>
                  </a:lnTo>
                  <a:lnTo>
                    <a:pt x="826" y="72"/>
                  </a:lnTo>
                  <a:lnTo>
                    <a:pt x="826" y="68"/>
                  </a:lnTo>
                  <a:lnTo>
                    <a:pt x="823" y="64"/>
                  </a:lnTo>
                  <a:lnTo>
                    <a:pt x="819" y="53"/>
                  </a:lnTo>
                  <a:lnTo>
                    <a:pt x="819" y="53"/>
                  </a:lnTo>
                  <a:lnTo>
                    <a:pt x="816" y="50"/>
                  </a:lnTo>
                  <a:lnTo>
                    <a:pt x="813" y="46"/>
                  </a:lnTo>
                  <a:lnTo>
                    <a:pt x="810" y="42"/>
                  </a:lnTo>
                  <a:lnTo>
                    <a:pt x="809" y="35"/>
                  </a:lnTo>
                  <a:lnTo>
                    <a:pt x="809" y="35"/>
                  </a:lnTo>
                  <a:lnTo>
                    <a:pt x="806" y="28"/>
                  </a:lnTo>
                  <a:lnTo>
                    <a:pt x="803" y="25"/>
                  </a:lnTo>
                  <a:lnTo>
                    <a:pt x="802" y="24"/>
                  </a:lnTo>
                  <a:lnTo>
                    <a:pt x="802" y="21"/>
                  </a:lnTo>
                  <a:lnTo>
                    <a:pt x="802" y="21"/>
                  </a:lnTo>
                  <a:lnTo>
                    <a:pt x="802" y="18"/>
                  </a:lnTo>
                  <a:lnTo>
                    <a:pt x="801" y="17"/>
                  </a:lnTo>
                  <a:lnTo>
                    <a:pt x="798" y="14"/>
                  </a:lnTo>
                  <a:lnTo>
                    <a:pt x="794" y="11"/>
                  </a:lnTo>
                  <a:lnTo>
                    <a:pt x="791" y="8"/>
                  </a:lnTo>
                  <a:lnTo>
                    <a:pt x="791" y="8"/>
                  </a:lnTo>
                  <a:lnTo>
                    <a:pt x="788" y="7"/>
                  </a:lnTo>
                  <a:lnTo>
                    <a:pt x="784" y="6"/>
                  </a:lnTo>
                  <a:lnTo>
                    <a:pt x="778" y="6"/>
                  </a:lnTo>
                  <a:lnTo>
                    <a:pt x="773" y="3"/>
                  </a:lnTo>
                  <a:lnTo>
                    <a:pt x="773" y="3"/>
                  </a:lnTo>
                  <a:lnTo>
                    <a:pt x="767" y="1"/>
                  </a:lnTo>
                  <a:lnTo>
                    <a:pt x="763" y="1"/>
                  </a:lnTo>
                  <a:lnTo>
                    <a:pt x="759" y="1"/>
                  </a:lnTo>
                  <a:lnTo>
                    <a:pt x="755" y="0"/>
                  </a:lnTo>
                  <a:lnTo>
                    <a:pt x="755" y="0"/>
                  </a:lnTo>
                  <a:lnTo>
                    <a:pt x="748" y="0"/>
                  </a:lnTo>
                  <a:lnTo>
                    <a:pt x="741" y="0"/>
                  </a:lnTo>
                  <a:lnTo>
                    <a:pt x="731" y="3"/>
                  </a:lnTo>
                  <a:lnTo>
                    <a:pt x="731" y="3"/>
                  </a:lnTo>
                  <a:lnTo>
                    <a:pt x="723" y="3"/>
                  </a:lnTo>
                  <a:lnTo>
                    <a:pt x="717" y="4"/>
                  </a:lnTo>
                  <a:lnTo>
                    <a:pt x="715" y="6"/>
                  </a:lnTo>
                  <a:lnTo>
                    <a:pt x="712" y="8"/>
                  </a:lnTo>
                  <a:lnTo>
                    <a:pt x="712" y="8"/>
                  </a:lnTo>
                  <a:lnTo>
                    <a:pt x="709" y="14"/>
                  </a:lnTo>
                  <a:lnTo>
                    <a:pt x="709" y="17"/>
                  </a:lnTo>
                  <a:lnTo>
                    <a:pt x="710" y="17"/>
                  </a:lnTo>
                  <a:lnTo>
                    <a:pt x="713" y="17"/>
                  </a:lnTo>
                  <a:lnTo>
                    <a:pt x="713" y="17"/>
                  </a:lnTo>
                  <a:lnTo>
                    <a:pt x="715" y="18"/>
                  </a:lnTo>
                  <a:lnTo>
                    <a:pt x="716" y="21"/>
                  </a:lnTo>
                  <a:lnTo>
                    <a:pt x="717" y="28"/>
                  </a:lnTo>
                  <a:lnTo>
                    <a:pt x="717" y="28"/>
                  </a:lnTo>
                  <a:lnTo>
                    <a:pt x="717" y="31"/>
                  </a:lnTo>
                  <a:lnTo>
                    <a:pt x="715" y="33"/>
                  </a:lnTo>
                  <a:lnTo>
                    <a:pt x="710" y="36"/>
                  </a:lnTo>
                  <a:lnTo>
                    <a:pt x="710" y="36"/>
                  </a:lnTo>
                  <a:lnTo>
                    <a:pt x="709" y="37"/>
                  </a:lnTo>
                  <a:lnTo>
                    <a:pt x="705" y="42"/>
                  </a:lnTo>
                  <a:lnTo>
                    <a:pt x="701" y="51"/>
                  </a:lnTo>
                  <a:lnTo>
                    <a:pt x="701" y="51"/>
                  </a:lnTo>
                  <a:lnTo>
                    <a:pt x="697" y="60"/>
                  </a:lnTo>
                  <a:lnTo>
                    <a:pt x="694" y="64"/>
                  </a:lnTo>
                  <a:lnTo>
                    <a:pt x="694" y="67"/>
                  </a:lnTo>
                  <a:lnTo>
                    <a:pt x="694" y="67"/>
                  </a:lnTo>
                  <a:lnTo>
                    <a:pt x="694" y="69"/>
                  </a:lnTo>
                  <a:lnTo>
                    <a:pt x="692" y="71"/>
                  </a:lnTo>
                  <a:lnTo>
                    <a:pt x="687" y="74"/>
                  </a:lnTo>
                  <a:lnTo>
                    <a:pt x="687" y="74"/>
                  </a:lnTo>
                  <a:lnTo>
                    <a:pt x="679" y="78"/>
                  </a:lnTo>
                  <a:lnTo>
                    <a:pt x="672" y="82"/>
                  </a:lnTo>
                  <a:lnTo>
                    <a:pt x="672" y="82"/>
                  </a:lnTo>
                  <a:lnTo>
                    <a:pt x="663" y="82"/>
                  </a:lnTo>
                  <a:lnTo>
                    <a:pt x="659" y="79"/>
                  </a:lnTo>
                  <a:lnTo>
                    <a:pt x="656" y="78"/>
                  </a:lnTo>
                  <a:lnTo>
                    <a:pt x="656" y="78"/>
                  </a:lnTo>
                  <a:lnTo>
                    <a:pt x="655" y="76"/>
                  </a:lnTo>
                  <a:lnTo>
                    <a:pt x="654" y="75"/>
                  </a:lnTo>
                  <a:lnTo>
                    <a:pt x="641" y="100"/>
                  </a:lnTo>
                  <a:lnTo>
                    <a:pt x="640" y="108"/>
                  </a:lnTo>
                  <a:lnTo>
                    <a:pt x="640" y="108"/>
                  </a:lnTo>
                  <a:lnTo>
                    <a:pt x="637" y="110"/>
                  </a:lnTo>
                  <a:lnTo>
                    <a:pt x="635" y="112"/>
                  </a:lnTo>
                  <a:lnTo>
                    <a:pt x="638" y="117"/>
                  </a:lnTo>
                  <a:lnTo>
                    <a:pt x="638" y="117"/>
                  </a:lnTo>
                  <a:lnTo>
                    <a:pt x="641" y="119"/>
                  </a:lnTo>
                  <a:lnTo>
                    <a:pt x="644" y="119"/>
                  </a:lnTo>
                  <a:lnTo>
                    <a:pt x="648" y="118"/>
                  </a:lnTo>
                  <a:lnTo>
                    <a:pt x="654" y="117"/>
                  </a:lnTo>
                  <a:lnTo>
                    <a:pt x="654" y="117"/>
                  </a:lnTo>
                  <a:lnTo>
                    <a:pt x="659" y="118"/>
                  </a:lnTo>
                  <a:lnTo>
                    <a:pt x="663" y="119"/>
                  </a:lnTo>
                  <a:lnTo>
                    <a:pt x="667" y="121"/>
                  </a:lnTo>
                  <a:lnTo>
                    <a:pt x="667" y="121"/>
                  </a:lnTo>
                  <a:lnTo>
                    <a:pt x="669" y="119"/>
                  </a:lnTo>
                  <a:lnTo>
                    <a:pt x="669" y="119"/>
                  </a:lnTo>
                  <a:lnTo>
                    <a:pt x="672" y="115"/>
                  </a:lnTo>
                  <a:lnTo>
                    <a:pt x="676" y="114"/>
                  </a:lnTo>
                  <a:lnTo>
                    <a:pt x="680" y="114"/>
                  </a:lnTo>
                  <a:lnTo>
                    <a:pt x="684" y="117"/>
                  </a:lnTo>
                  <a:lnTo>
                    <a:pt x="684" y="117"/>
                  </a:lnTo>
                  <a:lnTo>
                    <a:pt x="690" y="122"/>
                  </a:lnTo>
                  <a:lnTo>
                    <a:pt x="697" y="128"/>
                  </a:lnTo>
                  <a:lnTo>
                    <a:pt x="702" y="133"/>
                  </a:lnTo>
                  <a:lnTo>
                    <a:pt x="704" y="136"/>
                  </a:lnTo>
                  <a:lnTo>
                    <a:pt x="704" y="139"/>
                  </a:lnTo>
                  <a:lnTo>
                    <a:pt x="704" y="139"/>
                  </a:lnTo>
                  <a:lnTo>
                    <a:pt x="704" y="140"/>
                  </a:lnTo>
                  <a:lnTo>
                    <a:pt x="702" y="142"/>
                  </a:lnTo>
                  <a:lnTo>
                    <a:pt x="698" y="142"/>
                  </a:lnTo>
                  <a:lnTo>
                    <a:pt x="692" y="142"/>
                  </a:lnTo>
                  <a:lnTo>
                    <a:pt x="688" y="140"/>
                  </a:lnTo>
                  <a:lnTo>
                    <a:pt x="688" y="140"/>
                  </a:lnTo>
                  <a:lnTo>
                    <a:pt x="683" y="140"/>
                  </a:lnTo>
                  <a:lnTo>
                    <a:pt x="679" y="142"/>
                  </a:lnTo>
                  <a:lnTo>
                    <a:pt x="673" y="143"/>
                  </a:lnTo>
                  <a:lnTo>
                    <a:pt x="667" y="144"/>
                  </a:lnTo>
                  <a:lnTo>
                    <a:pt x="667" y="144"/>
                  </a:lnTo>
                  <a:lnTo>
                    <a:pt x="663" y="144"/>
                  </a:lnTo>
                  <a:lnTo>
                    <a:pt x="658" y="146"/>
                  </a:lnTo>
                  <a:lnTo>
                    <a:pt x="654" y="149"/>
                  </a:lnTo>
                  <a:lnTo>
                    <a:pt x="648" y="153"/>
                  </a:lnTo>
                  <a:lnTo>
                    <a:pt x="648" y="153"/>
                  </a:lnTo>
                  <a:lnTo>
                    <a:pt x="645" y="157"/>
                  </a:lnTo>
                  <a:lnTo>
                    <a:pt x="642" y="161"/>
                  </a:lnTo>
                  <a:lnTo>
                    <a:pt x="640" y="164"/>
                  </a:lnTo>
                  <a:lnTo>
                    <a:pt x="634" y="165"/>
                  </a:lnTo>
                  <a:lnTo>
                    <a:pt x="634" y="165"/>
                  </a:lnTo>
                  <a:lnTo>
                    <a:pt x="623" y="167"/>
                  </a:lnTo>
                  <a:lnTo>
                    <a:pt x="617" y="168"/>
                  </a:lnTo>
                  <a:lnTo>
                    <a:pt x="612" y="172"/>
                  </a:lnTo>
                  <a:lnTo>
                    <a:pt x="612" y="172"/>
                  </a:lnTo>
                  <a:lnTo>
                    <a:pt x="604" y="176"/>
                  </a:lnTo>
                  <a:lnTo>
                    <a:pt x="597" y="178"/>
                  </a:lnTo>
                  <a:lnTo>
                    <a:pt x="591" y="176"/>
                  </a:lnTo>
                  <a:lnTo>
                    <a:pt x="586" y="175"/>
                  </a:lnTo>
                  <a:lnTo>
                    <a:pt x="586" y="175"/>
                  </a:lnTo>
                  <a:lnTo>
                    <a:pt x="583" y="174"/>
                  </a:lnTo>
                  <a:lnTo>
                    <a:pt x="579" y="174"/>
                  </a:lnTo>
                  <a:lnTo>
                    <a:pt x="574" y="175"/>
                  </a:lnTo>
                  <a:lnTo>
                    <a:pt x="572" y="179"/>
                  </a:lnTo>
                  <a:lnTo>
                    <a:pt x="572" y="179"/>
                  </a:lnTo>
                  <a:lnTo>
                    <a:pt x="570" y="180"/>
                  </a:lnTo>
                  <a:lnTo>
                    <a:pt x="570" y="183"/>
                  </a:lnTo>
                  <a:lnTo>
                    <a:pt x="572" y="187"/>
                  </a:lnTo>
                  <a:lnTo>
                    <a:pt x="574" y="192"/>
                  </a:lnTo>
                  <a:lnTo>
                    <a:pt x="574" y="197"/>
                  </a:lnTo>
                  <a:lnTo>
                    <a:pt x="574" y="197"/>
                  </a:lnTo>
                  <a:lnTo>
                    <a:pt x="574" y="200"/>
                  </a:lnTo>
                  <a:lnTo>
                    <a:pt x="573" y="201"/>
                  </a:lnTo>
                  <a:lnTo>
                    <a:pt x="567" y="204"/>
                  </a:lnTo>
                  <a:lnTo>
                    <a:pt x="562" y="207"/>
                  </a:lnTo>
                  <a:lnTo>
                    <a:pt x="556" y="212"/>
                  </a:lnTo>
                  <a:lnTo>
                    <a:pt x="556" y="212"/>
                  </a:lnTo>
                  <a:lnTo>
                    <a:pt x="549" y="218"/>
                  </a:lnTo>
                  <a:lnTo>
                    <a:pt x="541" y="222"/>
                  </a:lnTo>
                  <a:lnTo>
                    <a:pt x="534" y="224"/>
                  </a:lnTo>
                  <a:lnTo>
                    <a:pt x="527" y="224"/>
                  </a:lnTo>
                  <a:lnTo>
                    <a:pt x="527" y="224"/>
                  </a:lnTo>
                  <a:lnTo>
                    <a:pt x="512" y="222"/>
                  </a:lnTo>
                  <a:lnTo>
                    <a:pt x="502" y="222"/>
                  </a:lnTo>
                  <a:lnTo>
                    <a:pt x="498" y="224"/>
                  </a:lnTo>
                  <a:lnTo>
                    <a:pt x="492" y="225"/>
                  </a:lnTo>
                  <a:lnTo>
                    <a:pt x="492" y="225"/>
                  </a:lnTo>
                  <a:lnTo>
                    <a:pt x="483" y="230"/>
                  </a:lnTo>
                  <a:lnTo>
                    <a:pt x="476" y="235"/>
                  </a:lnTo>
                  <a:lnTo>
                    <a:pt x="470" y="239"/>
                  </a:lnTo>
                  <a:lnTo>
                    <a:pt x="465" y="239"/>
                  </a:lnTo>
                  <a:lnTo>
                    <a:pt x="465" y="239"/>
                  </a:lnTo>
                  <a:lnTo>
                    <a:pt x="462" y="237"/>
                  </a:lnTo>
                  <a:lnTo>
                    <a:pt x="461" y="236"/>
                  </a:lnTo>
                  <a:lnTo>
                    <a:pt x="458" y="233"/>
                  </a:lnTo>
                  <a:lnTo>
                    <a:pt x="454" y="233"/>
                  </a:lnTo>
                  <a:lnTo>
                    <a:pt x="454" y="233"/>
                  </a:lnTo>
                  <a:lnTo>
                    <a:pt x="448" y="233"/>
                  </a:lnTo>
                  <a:lnTo>
                    <a:pt x="444" y="233"/>
                  </a:lnTo>
                  <a:lnTo>
                    <a:pt x="437" y="229"/>
                  </a:lnTo>
                  <a:lnTo>
                    <a:pt x="437" y="229"/>
                  </a:lnTo>
                  <a:lnTo>
                    <a:pt x="433" y="228"/>
                  </a:lnTo>
                  <a:lnTo>
                    <a:pt x="430" y="228"/>
                  </a:lnTo>
                  <a:lnTo>
                    <a:pt x="426" y="228"/>
                  </a:lnTo>
                  <a:lnTo>
                    <a:pt x="420" y="225"/>
                  </a:lnTo>
                  <a:lnTo>
                    <a:pt x="420" y="225"/>
                  </a:lnTo>
                  <a:lnTo>
                    <a:pt x="413" y="222"/>
                  </a:lnTo>
                  <a:lnTo>
                    <a:pt x="405" y="221"/>
                  </a:lnTo>
                  <a:lnTo>
                    <a:pt x="391" y="219"/>
                  </a:lnTo>
                  <a:lnTo>
                    <a:pt x="391" y="219"/>
                  </a:lnTo>
                  <a:lnTo>
                    <a:pt x="373" y="218"/>
                  </a:lnTo>
                  <a:lnTo>
                    <a:pt x="354" y="218"/>
                  </a:lnTo>
                  <a:lnTo>
                    <a:pt x="354" y="218"/>
                  </a:lnTo>
                  <a:lnTo>
                    <a:pt x="341" y="218"/>
                  </a:lnTo>
                  <a:lnTo>
                    <a:pt x="337" y="218"/>
                  </a:lnTo>
                  <a:lnTo>
                    <a:pt x="336" y="217"/>
                  </a:lnTo>
                  <a:lnTo>
                    <a:pt x="334" y="217"/>
                  </a:lnTo>
                  <a:lnTo>
                    <a:pt x="334" y="217"/>
                  </a:lnTo>
                  <a:lnTo>
                    <a:pt x="333" y="212"/>
                  </a:lnTo>
                  <a:lnTo>
                    <a:pt x="330" y="210"/>
                  </a:lnTo>
                  <a:lnTo>
                    <a:pt x="327" y="205"/>
                  </a:lnTo>
                  <a:lnTo>
                    <a:pt x="324" y="200"/>
                  </a:lnTo>
                  <a:lnTo>
                    <a:pt x="324" y="200"/>
                  </a:lnTo>
                  <a:lnTo>
                    <a:pt x="323" y="194"/>
                  </a:lnTo>
                  <a:lnTo>
                    <a:pt x="320" y="190"/>
                  </a:lnTo>
                  <a:lnTo>
                    <a:pt x="316" y="187"/>
                  </a:lnTo>
                  <a:lnTo>
                    <a:pt x="313" y="186"/>
                  </a:lnTo>
                  <a:lnTo>
                    <a:pt x="313" y="186"/>
                  </a:lnTo>
                  <a:lnTo>
                    <a:pt x="309" y="185"/>
                  </a:lnTo>
                  <a:lnTo>
                    <a:pt x="308" y="183"/>
                  </a:lnTo>
                  <a:lnTo>
                    <a:pt x="305" y="180"/>
                  </a:lnTo>
                  <a:lnTo>
                    <a:pt x="302" y="179"/>
                  </a:lnTo>
                  <a:lnTo>
                    <a:pt x="302" y="179"/>
                  </a:lnTo>
                  <a:lnTo>
                    <a:pt x="301" y="179"/>
                  </a:lnTo>
                  <a:lnTo>
                    <a:pt x="300" y="176"/>
                  </a:lnTo>
                  <a:lnTo>
                    <a:pt x="295" y="174"/>
                  </a:lnTo>
                  <a:lnTo>
                    <a:pt x="291" y="172"/>
                  </a:lnTo>
                  <a:lnTo>
                    <a:pt x="291" y="172"/>
                  </a:lnTo>
                  <a:lnTo>
                    <a:pt x="283" y="172"/>
                  </a:lnTo>
                  <a:lnTo>
                    <a:pt x="272" y="171"/>
                  </a:lnTo>
                  <a:lnTo>
                    <a:pt x="262" y="168"/>
                  </a:lnTo>
                  <a:lnTo>
                    <a:pt x="258" y="167"/>
                  </a:lnTo>
                  <a:lnTo>
                    <a:pt x="256" y="164"/>
                  </a:lnTo>
                  <a:lnTo>
                    <a:pt x="256" y="164"/>
                  </a:lnTo>
                  <a:lnTo>
                    <a:pt x="255" y="160"/>
                  </a:lnTo>
                  <a:lnTo>
                    <a:pt x="256" y="157"/>
                  </a:lnTo>
                  <a:lnTo>
                    <a:pt x="258" y="154"/>
                  </a:lnTo>
                  <a:lnTo>
                    <a:pt x="259" y="151"/>
                  </a:lnTo>
                  <a:lnTo>
                    <a:pt x="259" y="151"/>
                  </a:lnTo>
                  <a:lnTo>
                    <a:pt x="261" y="142"/>
                  </a:lnTo>
                  <a:lnTo>
                    <a:pt x="262" y="137"/>
                  </a:lnTo>
                  <a:lnTo>
                    <a:pt x="261" y="136"/>
                  </a:lnTo>
                  <a:lnTo>
                    <a:pt x="261" y="136"/>
                  </a:lnTo>
                  <a:lnTo>
                    <a:pt x="255" y="131"/>
                  </a:lnTo>
                  <a:lnTo>
                    <a:pt x="254" y="126"/>
                  </a:lnTo>
                  <a:lnTo>
                    <a:pt x="252" y="124"/>
                  </a:lnTo>
                  <a:lnTo>
                    <a:pt x="252" y="124"/>
                  </a:lnTo>
                  <a:lnTo>
                    <a:pt x="251" y="119"/>
                  </a:lnTo>
                  <a:lnTo>
                    <a:pt x="247" y="117"/>
                  </a:lnTo>
                  <a:lnTo>
                    <a:pt x="243" y="114"/>
                  </a:lnTo>
                  <a:lnTo>
                    <a:pt x="238" y="112"/>
                  </a:lnTo>
                  <a:lnTo>
                    <a:pt x="238" y="112"/>
                  </a:lnTo>
                  <a:lnTo>
                    <a:pt x="234" y="112"/>
                  </a:lnTo>
                  <a:lnTo>
                    <a:pt x="231" y="110"/>
                  </a:lnTo>
                  <a:lnTo>
                    <a:pt x="225" y="106"/>
                  </a:lnTo>
                  <a:lnTo>
                    <a:pt x="225" y="106"/>
                  </a:lnTo>
                  <a:lnTo>
                    <a:pt x="218" y="100"/>
                  </a:lnTo>
                  <a:lnTo>
                    <a:pt x="215" y="97"/>
                  </a:lnTo>
                  <a:lnTo>
                    <a:pt x="213" y="90"/>
                  </a:lnTo>
                  <a:lnTo>
                    <a:pt x="213" y="90"/>
                  </a:lnTo>
                  <a:lnTo>
                    <a:pt x="213" y="89"/>
                  </a:lnTo>
                  <a:lnTo>
                    <a:pt x="213" y="89"/>
                  </a:lnTo>
                  <a:lnTo>
                    <a:pt x="206" y="87"/>
                  </a:lnTo>
                  <a:lnTo>
                    <a:pt x="206" y="87"/>
                  </a:lnTo>
                  <a:lnTo>
                    <a:pt x="205" y="87"/>
                  </a:lnTo>
                  <a:lnTo>
                    <a:pt x="202" y="85"/>
                  </a:lnTo>
                  <a:lnTo>
                    <a:pt x="202" y="85"/>
                  </a:lnTo>
                  <a:lnTo>
                    <a:pt x="201" y="89"/>
                  </a:lnTo>
                  <a:lnTo>
                    <a:pt x="200" y="90"/>
                  </a:lnTo>
                  <a:lnTo>
                    <a:pt x="198" y="93"/>
                  </a:lnTo>
                  <a:lnTo>
                    <a:pt x="197" y="96"/>
                  </a:lnTo>
                  <a:lnTo>
                    <a:pt x="197" y="96"/>
                  </a:lnTo>
                  <a:lnTo>
                    <a:pt x="197" y="99"/>
                  </a:lnTo>
                  <a:lnTo>
                    <a:pt x="195" y="101"/>
                  </a:lnTo>
                  <a:lnTo>
                    <a:pt x="194" y="103"/>
                  </a:lnTo>
                  <a:lnTo>
                    <a:pt x="191" y="104"/>
                  </a:lnTo>
                  <a:lnTo>
                    <a:pt x="191" y="104"/>
                  </a:lnTo>
                  <a:lnTo>
                    <a:pt x="187" y="104"/>
                  </a:lnTo>
                  <a:lnTo>
                    <a:pt x="184" y="107"/>
                  </a:lnTo>
                  <a:lnTo>
                    <a:pt x="182" y="111"/>
                  </a:lnTo>
                  <a:lnTo>
                    <a:pt x="180" y="115"/>
                  </a:lnTo>
                  <a:lnTo>
                    <a:pt x="180" y="115"/>
                  </a:lnTo>
                  <a:lnTo>
                    <a:pt x="182" y="121"/>
                  </a:lnTo>
                  <a:lnTo>
                    <a:pt x="182" y="124"/>
                  </a:lnTo>
                  <a:lnTo>
                    <a:pt x="183" y="126"/>
                  </a:lnTo>
                  <a:lnTo>
                    <a:pt x="183" y="128"/>
                  </a:lnTo>
                  <a:lnTo>
                    <a:pt x="183" y="128"/>
                  </a:lnTo>
                  <a:lnTo>
                    <a:pt x="180" y="131"/>
                  </a:lnTo>
                  <a:lnTo>
                    <a:pt x="176" y="133"/>
                  </a:lnTo>
                  <a:lnTo>
                    <a:pt x="172" y="135"/>
                  </a:lnTo>
                  <a:lnTo>
                    <a:pt x="168" y="133"/>
                  </a:lnTo>
                  <a:lnTo>
                    <a:pt x="168" y="133"/>
                  </a:lnTo>
                  <a:lnTo>
                    <a:pt x="161" y="133"/>
                  </a:lnTo>
                  <a:lnTo>
                    <a:pt x="154" y="132"/>
                  </a:lnTo>
                  <a:lnTo>
                    <a:pt x="154" y="132"/>
                  </a:lnTo>
                  <a:lnTo>
                    <a:pt x="150" y="132"/>
                  </a:lnTo>
                  <a:lnTo>
                    <a:pt x="147" y="129"/>
                  </a:lnTo>
                  <a:lnTo>
                    <a:pt x="144" y="129"/>
                  </a:lnTo>
                  <a:lnTo>
                    <a:pt x="143" y="132"/>
                  </a:lnTo>
                  <a:lnTo>
                    <a:pt x="143" y="132"/>
                  </a:lnTo>
                  <a:lnTo>
                    <a:pt x="137" y="150"/>
                  </a:lnTo>
                  <a:lnTo>
                    <a:pt x="133" y="158"/>
                  </a:lnTo>
                  <a:lnTo>
                    <a:pt x="133" y="161"/>
                  </a:lnTo>
                  <a:lnTo>
                    <a:pt x="133" y="162"/>
                  </a:lnTo>
                  <a:lnTo>
                    <a:pt x="133" y="162"/>
                  </a:lnTo>
                  <a:lnTo>
                    <a:pt x="134" y="165"/>
                  </a:lnTo>
                  <a:lnTo>
                    <a:pt x="136" y="167"/>
                  </a:lnTo>
                  <a:lnTo>
                    <a:pt x="136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27" y="169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19" y="167"/>
                  </a:lnTo>
                  <a:lnTo>
                    <a:pt x="116" y="168"/>
                  </a:lnTo>
                  <a:lnTo>
                    <a:pt x="112" y="169"/>
                  </a:lnTo>
                  <a:lnTo>
                    <a:pt x="108" y="169"/>
                  </a:lnTo>
                  <a:lnTo>
                    <a:pt x="108" y="169"/>
                  </a:lnTo>
                  <a:lnTo>
                    <a:pt x="101" y="172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98" y="176"/>
                  </a:lnTo>
                  <a:lnTo>
                    <a:pt x="98" y="176"/>
                  </a:lnTo>
                  <a:lnTo>
                    <a:pt x="100" y="179"/>
                  </a:lnTo>
                  <a:lnTo>
                    <a:pt x="101" y="182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93"/>
                  </a:lnTo>
                  <a:lnTo>
                    <a:pt x="105" y="199"/>
                  </a:lnTo>
                  <a:lnTo>
                    <a:pt x="108" y="203"/>
                  </a:lnTo>
                  <a:lnTo>
                    <a:pt x="108" y="207"/>
                  </a:lnTo>
                  <a:lnTo>
                    <a:pt x="108" y="207"/>
                  </a:lnTo>
                  <a:lnTo>
                    <a:pt x="107" y="210"/>
                  </a:lnTo>
                  <a:lnTo>
                    <a:pt x="104" y="212"/>
                  </a:lnTo>
                  <a:lnTo>
                    <a:pt x="101" y="215"/>
                  </a:lnTo>
                  <a:lnTo>
                    <a:pt x="100" y="219"/>
                  </a:lnTo>
                  <a:lnTo>
                    <a:pt x="100" y="219"/>
                  </a:lnTo>
                  <a:lnTo>
                    <a:pt x="100" y="225"/>
                  </a:lnTo>
                  <a:lnTo>
                    <a:pt x="100" y="228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3" y="232"/>
                  </a:lnTo>
                  <a:lnTo>
                    <a:pt x="84" y="236"/>
                  </a:lnTo>
                  <a:lnTo>
                    <a:pt x="84" y="236"/>
                  </a:lnTo>
                  <a:lnTo>
                    <a:pt x="77" y="239"/>
                  </a:lnTo>
                  <a:lnTo>
                    <a:pt x="75" y="240"/>
                  </a:lnTo>
                  <a:lnTo>
                    <a:pt x="73" y="243"/>
                  </a:lnTo>
                  <a:lnTo>
                    <a:pt x="73" y="243"/>
                  </a:lnTo>
                  <a:lnTo>
                    <a:pt x="70" y="246"/>
                  </a:lnTo>
                  <a:lnTo>
                    <a:pt x="68" y="247"/>
                  </a:lnTo>
                  <a:lnTo>
                    <a:pt x="65" y="250"/>
                  </a:lnTo>
                  <a:lnTo>
                    <a:pt x="61" y="250"/>
                  </a:lnTo>
                  <a:lnTo>
                    <a:pt x="61" y="250"/>
                  </a:lnTo>
                  <a:lnTo>
                    <a:pt x="52" y="248"/>
                  </a:lnTo>
                  <a:lnTo>
                    <a:pt x="50" y="250"/>
                  </a:lnTo>
                  <a:lnTo>
                    <a:pt x="45" y="254"/>
                  </a:lnTo>
                  <a:lnTo>
                    <a:pt x="45" y="254"/>
                  </a:lnTo>
                  <a:lnTo>
                    <a:pt x="43" y="257"/>
                  </a:lnTo>
                  <a:lnTo>
                    <a:pt x="41" y="258"/>
                  </a:lnTo>
                  <a:lnTo>
                    <a:pt x="37" y="260"/>
                  </a:lnTo>
                  <a:lnTo>
                    <a:pt x="37" y="260"/>
                  </a:lnTo>
                  <a:lnTo>
                    <a:pt x="34" y="261"/>
                  </a:lnTo>
                  <a:lnTo>
                    <a:pt x="32" y="260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5" y="257"/>
                  </a:lnTo>
                  <a:lnTo>
                    <a:pt x="22" y="258"/>
                  </a:lnTo>
                  <a:lnTo>
                    <a:pt x="18" y="260"/>
                  </a:lnTo>
                  <a:lnTo>
                    <a:pt x="18" y="260"/>
                  </a:lnTo>
                  <a:lnTo>
                    <a:pt x="15" y="261"/>
                  </a:lnTo>
                  <a:lnTo>
                    <a:pt x="14" y="262"/>
                  </a:lnTo>
                  <a:lnTo>
                    <a:pt x="11" y="264"/>
                  </a:lnTo>
                  <a:lnTo>
                    <a:pt x="9" y="265"/>
                  </a:lnTo>
                  <a:lnTo>
                    <a:pt x="9" y="265"/>
                  </a:lnTo>
                  <a:lnTo>
                    <a:pt x="4" y="267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2" y="269"/>
                  </a:lnTo>
                  <a:lnTo>
                    <a:pt x="1" y="273"/>
                  </a:lnTo>
                  <a:lnTo>
                    <a:pt x="0" y="278"/>
                  </a:lnTo>
                  <a:lnTo>
                    <a:pt x="0" y="278"/>
                  </a:lnTo>
                  <a:lnTo>
                    <a:pt x="1" y="292"/>
                  </a:lnTo>
                  <a:lnTo>
                    <a:pt x="1" y="292"/>
                  </a:lnTo>
                  <a:lnTo>
                    <a:pt x="9" y="294"/>
                  </a:lnTo>
                  <a:lnTo>
                    <a:pt x="15" y="297"/>
                  </a:lnTo>
                  <a:lnTo>
                    <a:pt x="16" y="298"/>
                  </a:lnTo>
                  <a:lnTo>
                    <a:pt x="18" y="301"/>
                  </a:lnTo>
                  <a:lnTo>
                    <a:pt x="18" y="301"/>
                  </a:lnTo>
                  <a:lnTo>
                    <a:pt x="20" y="322"/>
                  </a:lnTo>
                  <a:lnTo>
                    <a:pt x="20" y="322"/>
                  </a:lnTo>
                  <a:lnTo>
                    <a:pt x="20" y="322"/>
                  </a:lnTo>
                  <a:lnTo>
                    <a:pt x="20" y="322"/>
                  </a:lnTo>
                  <a:lnTo>
                    <a:pt x="29" y="329"/>
                  </a:lnTo>
                  <a:lnTo>
                    <a:pt x="33" y="332"/>
                  </a:lnTo>
                  <a:lnTo>
                    <a:pt x="34" y="333"/>
                  </a:lnTo>
                  <a:lnTo>
                    <a:pt x="34" y="333"/>
                  </a:lnTo>
                  <a:lnTo>
                    <a:pt x="36" y="339"/>
                  </a:lnTo>
                  <a:lnTo>
                    <a:pt x="37" y="341"/>
                  </a:lnTo>
                  <a:lnTo>
                    <a:pt x="43" y="346"/>
                  </a:lnTo>
                  <a:lnTo>
                    <a:pt x="43" y="346"/>
                  </a:lnTo>
                  <a:lnTo>
                    <a:pt x="54" y="351"/>
                  </a:lnTo>
                  <a:lnTo>
                    <a:pt x="54" y="351"/>
                  </a:lnTo>
                  <a:lnTo>
                    <a:pt x="55" y="350"/>
                  </a:lnTo>
                  <a:lnTo>
                    <a:pt x="61" y="350"/>
                  </a:lnTo>
                  <a:lnTo>
                    <a:pt x="61" y="350"/>
                  </a:lnTo>
                  <a:lnTo>
                    <a:pt x="65" y="353"/>
                  </a:lnTo>
                  <a:lnTo>
                    <a:pt x="65" y="353"/>
                  </a:lnTo>
                  <a:lnTo>
                    <a:pt x="68" y="348"/>
                  </a:lnTo>
                  <a:lnTo>
                    <a:pt x="72" y="346"/>
                  </a:lnTo>
                  <a:lnTo>
                    <a:pt x="77" y="343"/>
                  </a:lnTo>
                  <a:lnTo>
                    <a:pt x="83" y="343"/>
                  </a:lnTo>
                  <a:lnTo>
                    <a:pt x="83" y="343"/>
                  </a:lnTo>
                  <a:lnTo>
                    <a:pt x="88" y="344"/>
                  </a:lnTo>
                  <a:lnTo>
                    <a:pt x="94" y="348"/>
                  </a:lnTo>
                  <a:lnTo>
                    <a:pt x="100" y="354"/>
                  </a:lnTo>
                  <a:lnTo>
                    <a:pt x="100" y="355"/>
                  </a:lnTo>
                  <a:lnTo>
                    <a:pt x="101" y="357"/>
                  </a:lnTo>
                  <a:lnTo>
                    <a:pt x="101" y="357"/>
                  </a:lnTo>
                  <a:lnTo>
                    <a:pt x="94" y="368"/>
                  </a:lnTo>
                  <a:lnTo>
                    <a:pt x="88" y="373"/>
                  </a:lnTo>
                  <a:lnTo>
                    <a:pt x="84" y="376"/>
                  </a:lnTo>
                  <a:lnTo>
                    <a:pt x="84" y="376"/>
                  </a:lnTo>
                  <a:lnTo>
                    <a:pt x="77" y="376"/>
                  </a:lnTo>
                  <a:lnTo>
                    <a:pt x="77" y="376"/>
                  </a:lnTo>
                  <a:lnTo>
                    <a:pt x="77" y="382"/>
                  </a:lnTo>
                  <a:lnTo>
                    <a:pt x="77" y="382"/>
                  </a:lnTo>
                  <a:lnTo>
                    <a:pt x="77" y="385"/>
                  </a:lnTo>
                  <a:lnTo>
                    <a:pt x="80" y="389"/>
                  </a:lnTo>
                  <a:lnTo>
                    <a:pt x="86" y="396"/>
                  </a:lnTo>
                  <a:lnTo>
                    <a:pt x="86" y="396"/>
                  </a:lnTo>
                  <a:lnTo>
                    <a:pt x="87" y="398"/>
                  </a:lnTo>
                  <a:lnTo>
                    <a:pt x="86" y="400"/>
                  </a:lnTo>
                  <a:lnTo>
                    <a:pt x="84" y="403"/>
                  </a:lnTo>
                  <a:lnTo>
                    <a:pt x="80" y="403"/>
                  </a:lnTo>
                  <a:lnTo>
                    <a:pt x="76" y="401"/>
                  </a:lnTo>
                  <a:lnTo>
                    <a:pt x="76" y="401"/>
                  </a:lnTo>
                  <a:lnTo>
                    <a:pt x="73" y="401"/>
                  </a:lnTo>
                  <a:lnTo>
                    <a:pt x="72" y="403"/>
                  </a:lnTo>
                  <a:lnTo>
                    <a:pt x="72" y="405"/>
                  </a:lnTo>
                  <a:lnTo>
                    <a:pt x="73" y="408"/>
                  </a:lnTo>
                  <a:lnTo>
                    <a:pt x="73" y="408"/>
                  </a:lnTo>
                  <a:lnTo>
                    <a:pt x="75" y="411"/>
                  </a:lnTo>
                  <a:lnTo>
                    <a:pt x="75" y="415"/>
                  </a:lnTo>
                  <a:lnTo>
                    <a:pt x="76" y="419"/>
                  </a:lnTo>
                  <a:lnTo>
                    <a:pt x="79" y="421"/>
                  </a:lnTo>
                  <a:lnTo>
                    <a:pt x="79" y="421"/>
                  </a:lnTo>
                  <a:lnTo>
                    <a:pt x="82" y="422"/>
                  </a:lnTo>
                  <a:lnTo>
                    <a:pt x="84" y="425"/>
                  </a:lnTo>
                  <a:lnTo>
                    <a:pt x="88" y="429"/>
                  </a:lnTo>
                  <a:lnTo>
                    <a:pt x="91" y="430"/>
                  </a:lnTo>
                  <a:lnTo>
                    <a:pt x="91" y="430"/>
                  </a:lnTo>
                  <a:lnTo>
                    <a:pt x="95" y="432"/>
                  </a:lnTo>
                  <a:lnTo>
                    <a:pt x="98" y="434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4" y="440"/>
                  </a:lnTo>
                  <a:lnTo>
                    <a:pt x="107" y="443"/>
                  </a:lnTo>
                  <a:lnTo>
                    <a:pt x="108" y="444"/>
                  </a:lnTo>
                  <a:lnTo>
                    <a:pt x="108" y="444"/>
                  </a:lnTo>
                  <a:lnTo>
                    <a:pt x="107" y="446"/>
                  </a:lnTo>
                  <a:lnTo>
                    <a:pt x="107" y="446"/>
                  </a:lnTo>
                  <a:lnTo>
                    <a:pt x="113" y="444"/>
                  </a:lnTo>
                  <a:lnTo>
                    <a:pt x="116" y="444"/>
                  </a:lnTo>
                  <a:lnTo>
                    <a:pt x="116" y="443"/>
                  </a:lnTo>
                  <a:lnTo>
                    <a:pt x="116" y="443"/>
                  </a:lnTo>
                  <a:lnTo>
                    <a:pt x="118" y="441"/>
                  </a:lnTo>
                  <a:lnTo>
                    <a:pt x="122" y="441"/>
                  </a:lnTo>
                  <a:lnTo>
                    <a:pt x="125" y="443"/>
                  </a:lnTo>
                  <a:lnTo>
                    <a:pt x="129" y="446"/>
                  </a:lnTo>
                  <a:lnTo>
                    <a:pt x="129" y="446"/>
                  </a:lnTo>
                  <a:lnTo>
                    <a:pt x="144" y="457"/>
                  </a:lnTo>
                  <a:lnTo>
                    <a:pt x="161" y="468"/>
                  </a:lnTo>
                  <a:lnTo>
                    <a:pt x="161" y="468"/>
                  </a:lnTo>
                  <a:lnTo>
                    <a:pt x="168" y="473"/>
                  </a:lnTo>
                  <a:lnTo>
                    <a:pt x="177" y="476"/>
                  </a:lnTo>
                  <a:lnTo>
                    <a:pt x="186" y="479"/>
                  </a:lnTo>
                  <a:lnTo>
                    <a:pt x="191" y="480"/>
                  </a:lnTo>
                  <a:lnTo>
                    <a:pt x="191" y="480"/>
                  </a:lnTo>
                  <a:lnTo>
                    <a:pt x="195" y="480"/>
                  </a:lnTo>
                  <a:lnTo>
                    <a:pt x="201" y="483"/>
                  </a:lnTo>
                  <a:lnTo>
                    <a:pt x="205" y="484"/>
                  </a:lnTo>
                  <a:lnTo>
                    <a:pt x="212" y="484"/>
                  </a:lnTo>
                  <a:lnTo>
                    <a:pt x="212" y="484"/>
                  </a:lnTo>
                  <a:lnTo>
                    <a:pt x="215" y="484"/>
                  </a:lnTo>
                  <a:lnTo>
                    <a:pt x="215" y="484"/>
                  </a:lnTo>
                  <a:lnTo>
                    <a:pt x="218" y="483"/>
                  </a:lnTo>
                  <a:lnTo>
                    <a:pt x="220" y="480"/>
                  </a:lnTo>
                  <a:lnTo>
                    <a:pt x="220" y="480"/>
                  </a:lnTo>
                  <a:lnTo>
                    <a:pt x="222" y="479"/>
                  </a:lnTo>
                  <a:lnTo>
                    <a:pt x="225" y="482"/>
                  </a:lnTo>
                  <a:lnTo>
                    <a:pt x="226" y="484"/>
                  </a:lnTo>
                  <a:lnTo>
                    <a:pt x="226" y="489"/>
                  </a:lnTo>
                  <a:lnTo>
                    <a:pt x="226" y="489"/>
                  </a:lnTo>
                  <a:lnTo>
                    <a:pt x="226" y="491"/>
                  </a:lnTo>
                  <a:lnTo>
                    <a:pt x="226" y="496"/>
                  </a:lnTo>
                  <a:lnTo>
                    <a:pt x="226" y="496"/>
                  </a:lnTo>
                  <a:lnTo>
                    <a:pt x="230" y="489"/>
                  </a:lnTo>
                  <a:lnTo>
                    <a:pt x="230" y="489"/>
                  </a:lnTo>
                  <a:lnTo>
                    <a:pt x="233" y="484"/>
                  </a:lnTo>
                  <a:lnTo>
                    <a:pt x="236" y="482"/>
                  </a:lnTo>
                  <a:lnTo>
                    <a:pt x="241" y="479"/>
                  </a:lnTo>
                  <a:lnTo>
                    <a:pt x="241" y="479"/>
                  </a:lnTo>
                  <a:lnTo>
                    <a:pt x="244" y="478"/>
                  </a:lnTo>
                  <a:lnTo>
                    <a:pt x="245" y="478"/>
                  </a:lnTo>
                  <a:lnTo>
                    <a:pt x="254" y="482"/>
                  </a:lnTo>
                  <a:lnTo>
                    <a:pt x="254" y="482"/>
                  </a:lnTo>
                  <a:lnTo>
                    <a:pt x="258" y="482"/>
                  </a:lnTo>
                  <a:lnTo>
                    <a:pt x="262" y="482"/>
                  </a:lnTo>
                  <a:lnTo>
                    <a:pt x="266" y="482"/>
                  </a:lnTo>
                  <a:lnTo>
                    <a:pt x="272" y="486"/>
                  </a:lnTo>
                  <a:lnTo>
                    <a:pt x="272" y="486"/>
                  </a:lnTo>
                  <a:lnTo>
                    <a:pt x="277" y="484"/>
                  </a:lnTo>
                  <a:lnTo>
                    <a:pt x="277" y="484"/>
                  </a:lnTo>
                  <a:lnTo>
                    <a:pt x="280" y="482"/>
                  </a:lnTo>
                  <a:lnTo>
                    <a:pt x="284" y="478"/>
                  </a:lnTo>
                  <a:lnTo>
                    <a:pt x="284" y="478"/>
                  </a:lnTo>
                  <a:lnTo>
                    <a:pt x="287" y="473"/>
                  </a:lnTo>
                  <a:lnTo>
                    <a:pt x="288" y="472"/>
                  </a:lnTo>
                  <a:lnTo>
                    <a:pt x="291" y="471"/>
                  </a:lnTo>
                  <a:lnTo>
                    <a:pt x="291" y="471"/>
                  </a:lnTo>
                  <a:lnTo>
                    <a:pt x="294" y="471"/>
                  </a:lnTo>
                  <a:lnTo>
                    <a:pt x="297" y="469"/>
                  </a:lnTo>
                  <a:lnTo>
                    <a:pt x="300" y="466"/>
                  </a:lnTo>
                  <a:lnTo>
                    <a:pt x="305" y="462"/>
                  </a:lnTo>
                  <a:lnTo>
                    <a:pt x="305" y="462"/>
                  </a:lnTo>
                  <a:lnTo>
                    <a:pt x="311" y="461"/>
                  </a:lnTo>
                  <a:lnTo>
                    <a:pt x="315" y="462"/>
                  </a:lnTo>
                  <a:lnTo>
                    <a:pt x="320" y="462"/>
                  </a:lnTo>
                  <a:lnTo>
                    <a:pt x="323" y="462"/>
                  </a:lnTo>
                  <a:lnTo>
                    <a:pt x="323" y="462"/>
                  </a:lnTo>
                  <a:lnTo>
                    <a:pt x="329" y="459"/>
                  </a:lnTo>
                  <a:lnTo>
                    <a:pt x="330" y="459"/>
                  </a:lnTo>
                  <a:lnTo>
                    <a:pt x="331" y="461"/>
                  </a:lnTo>
                  <a:lnTo>
                    <a:pt x="331" y="461"/>
                  </a:lnTo>
                  <a:lnTo>
                    <a:pt x="331" y="464"/>
                  </a:lnTo>
                  <a:lnTo>
                    <a:pt x="334" y="466"/>
                  </a:lnTo>
                  <a:lnTo>
                    <a:pt x="337" y="471"/>
                  </a:lnTo>
                  <a:lnTo>
                    <a:pt x="337" y="471"/>
                  </a:lnTo>
                  <a:lnTo>
                    <a:pt x="338" y="473"/>
                  </a:lnTo>
                  <a:lnTo>
                    <a:pt x="341" y="475"/>
                  </a:lnTo>
                  <a:lnTo>
                    <a:pt x="347" y="476"/>
                  </a:lnTo>
                  <a:lnTo>
                    <a:pt x="347" y="476"/>
                  </a:lnTo>
                  <a:lnTo>
                    <a:pt x="349" y="475"/>
                  </a:lnTo>
                  <a:lnTo>
                    <a:pt x="349" y="475"/>
                  </a:lnTo>
                  <a:lnTo>
                    <a:pt x="352" y="473"/>
                  </a:lnTo>
                  <a:lnTo>
                    <a:pt x="355" y="475"/>
                  </a:lnTo>
                  <a:lnTo>
                    <a:pt x="358" y="476"/>
                  </a:lnTo>
                  <a:lnTo>
                    <a:pt x="359" y="479"/>
                  </a:lnTo>
                  <a:lnTo>
                    <a:pt x="359" y="479"/>
                  </a:lnTo>
                  <a:lnTo>
                    <a:pt x="359" y="484"/>
                  </a:lnTo>
                  <a:lnTo>
                    <a:pt x="361" y="487"/>
                  </a:lnTo>
                  <a:lnTo>
                    <a:pt x="363" y="487"/>
                  </a:lnTo>
                  <a:lnTo>
                    <a:pt x="363" y="487"/>
                  </a:lnTo>
                  <a:lnTo>
                    <a:pt x="365" y="487"/>
                  </a:lnTo>
                  <a:lnTo>
                    <a:pt x="368" y="489"/>
                  </a:lnTo>
                  <a:lnTo>
                    <a:pt x="369" y="491"/>
                  </a:lnTo>
                  <a:lnTo>
                    <a:pt x="369" y="496"/>
                  </a:lnTo>
                  <a:lnTo>
                    <a:pt x="369" y="496"/>
                  </a:lnTo>
                  <a:lnTo>
                    <a:pt x="369" y="507"/>
                  </a:lnTo>
                  <a:lnTo>
                    <a:pt x="369" y="514"/>
                  </a:lnTo>
                  <a:lnTo>
                    <a:pt x="365" y="518"/>
                  </a:lnTo>
                  <a:lnTo>
                    <a:pt x="365" y="518"/>
                  </a:lnTo>
                  <a:lnTo>
                    <a:pt x="361" y="523"/>
                  </a:lnTo>
                  <a:lnTo>
                    <a:pt x="356" y="530"/>
                  </a:lnTo>
                  <a:lnTo>
                    <a:pt x="352" y="536"/>
                  </a:lnTo>
                  <a:lnTo>
                    <a:pt x="352" y="540"/>
                  </a:lnTo>
                  <a:lnTo>
                    <a:pt x="352" y="540"/>
                  </a:lnTo>
                  <a:lnTo>
                    <a:pt x="352" y="543"/>
                  </a:lnTo>
                  <a:lnTo>
                    <a:pt x="352" y="546"/>
                  </a:lnTo>
                  <a:lnTo>
                    <a:pt x="352" y="548"/>
                  </a:lnTo>
                  <a:lnTo>
                    <a:pt x="355" y="548"/>
                  </a:lnTo>
                  <a:lnTo>
                    <a:pt x="355" y="548"/>
                  </a:lnTo>
                  <a:lnTo>
                    <a:pt x="359" y="547"/>
                  </a:lnTo>
                  <a:lnTo>
                    <a:pt x="365" y="547"/>
                  </a:lnTo>
                  <a:lnTo>
                    <a:pt x="369" y="548"/>
                  </a:lnTo>
                  <a:lnTo>
                    <a:pt x="369" y="550"/>
                  </a:lnTo>
                  <a:lnTo>
                    <a:pt x="369" y="551"/>
                  </a:lnTo>
                  <a:lnTo>
                    <a:pt x="369" y="551"/>
                  </a:lnTo>
                  <a:lnTo>
                    <a:pt x="369" y="554"/>
                  </a:lnTo>
                  <a:lnTo>
                    <a:pt x="369" y="558"/>
                  </a:lnTo>
                  <a:lnTo>
                    <a:pt x="372" y="562"/>
                  </a:lnTo>
                  <a:lnTo>
                    <a:pt x="374" y="564"/>
                  </a:lnTo>
                  <a:lnTo>
                    <a:pt x="374" y="564"/>
                  </a:lnTo>
                  <a:lnTo>
                    <a:pt x="377" y="564"/>
                  </a:lnTo>
                  <a:lnTo>
                    <a:pt x="380" y="565"/>
                  </a:lnTo>
                  <a:lnTo>
                    <a:pt x="380" y="568"/>
                  </a:lnTo>
                  <a:lnTo>
                    <a:pt x="380" y="571"/>
                  </a:lnTo>
                  <a:lnTo>
                    <a:pt x="380" y="571"/>
                  </a:lnTo>
                  <a:lnTo>
                    <a:pt x="379" y="577"/>
                  </a:lnTo>
                  <a:lnTo>
                    <a:pt x="379" y="580"/>
                  </a:lnTo>
                  <a:lnTo>
                    <a:pt x="380" y="580"/>
                  </a:lnTo>
                  <a:lnTo>
                    <a:pt x="380" y="580"/>
                  </a:lnTo>
                  <a:lnTo>
                    <a:pt x="386" y="582"/>
                  </a:lnTo>
                  <a:lnTo>
                    <a:pt x="388" y="583"/>
                  </a:lnTo>
                  <a:lnTo>
                    <a:pt x="388" y="584"/>
                  </a:lnTo>
                  <a:lnTo>
                    <a:pt x="388" y="584"/>
                  </a:lnTo>
                  <a:lnTo>
                    <a:pt x="388" y="589"/>
                  </a:lnTo>
                  <a:lnTo>
                    <a:pt x="391" y="590"/>
                  </a:lnTo>
                  <a:lnTo>
                    <a:pt x="394" y="591"/>
                  </a:lnTo>
                  <a:lnTo>
                    <a:pt x="398" y="590"/>
                  </a:lnTo>
                  <a:lnTo>
                    <a:pt x="398" y="590"/>
                  </a:lnTo>
                  <a:lnTo>
                    <a:pt x="404" y="589"/>
                  </a:lnTo>
                  <a:lnTo>
                    <a:pt x="405" y="589"/>
                  </a:lnTo>
                  <a:lnTo>
                    <a:pt x="405" y="589"/>
                  </a:lnTo>
                  <a:lnTo>
                    <a:pt x="405" y="589"/>
                  </a:lnTo>
                  <a:lnTo>
                    <a:pt x="408" y="590"/>
                  </a:lnTo>
                  <a:lnTo>
                    <a:pt x="409" y="591"/>
                  </a:lnTo>
                  <a:lnTo>
                    <a:pt x="411" y="594"/>
                  </a:lnTo>
                  <a:lnTo>
                    <a:pt x="413" y="596"/>
                  </a:lnTo>
                  <a:lnTo>
                    <a:pt x="413" y="596"/>
                  </a:lnTo>
                  <a:lnTo>
                    <a:pt x="415" y="596"/>
                  </a:lnTo>
                  <a:lnTo>
                    <a:pt x="416" y="596"/>
                  </a:lnTo>
                  <a:lnTo>
                    <a:pt x="416" y="591"/>
                  </a:lnTo>
                  <a:lnTo>
                    <a:pt x="415" y="587"/>
                  </a:lnTo>
                  <a:lnTo>
                    <a:pt x="413" y="583"/>
                  </a:lnTo>
                  <a:lnTo>
                    <a:pt x="413" y="583"/>
                  </a:lnTo>
                  <a:lnTo>
                    <a:pt x="413" y="582"/>
                  </a:lnTo>
                  <a:lnTo>
                    <a:pt x="413" y="579"/>
                  </a:lnTo>
                  <a:lnTo>
                    <a:pt x="415" y="576"/>
                  </a:lnTo>
                  <a:lnTo>
                    <a:pt x="416" y="576"/>
                  </a:lnTo>
                  <a:lnTo>
                    <a:pt x="416" y="576"/>
                  </a:lnTo>
                  <a:lnTo>
                    <a:pt x="419" y="576"/>
                  </a:lnTo>
                  <a:lnTo>
                    <a:pt x="422" y="576"/>
                  </a:lnTo>
                  <a:lnTo>
                    <a:pt x="424" y="575"/>
                  </a:lnTo>
                  <a:lnTo>
                    <a:pt x="427" y="572"/>
                  </a:lnTo>
                  <a:lnTo>
                    <a:pt x="427" y="572"/>
                  </a:lnTo>
                  <a:lnTo>
                    <a:pt x="429" y="571"/>
                  </a:lnTo>
                  <a:lnTo>
                    <a:pt x="430" y="571"/>
                  </a:lnTo>
                  <a:lnTo>
                    <a:pt x="433" y="572"/>
                  </a:lnTo>
                  <a:lnTo>
                    <a:pt x="436" y="572"/>
                  </a:lnTo>
                  <a:lnTo>
                    <a:pt x="437" y="572"/>
                  </a:lnTo>
                  <a:lnTo>
                    <a:pt x="438" y="571"/>
                  </a:lnTo>
                  <a:lnTo>
                    <a:pt x="438" y="571"/>
                  </a:lnTo>
                  <a:lnTo>
                    <a:pt x="440" y="569"/>
                  </a:lnTo>
                  <a:lnTo>
                    <a:pt x="441" y="569"/>
                  </a:lnTo>
                  <a:lnTo>
                    <a:pt x="444" y="571"/>
                  </a:lnTo>
                  <a:lnTo>
                    <a:pt x="448" y="572"/>
                  </a:lnTo>
                  <a:lnTo>
                    <a:pt x="452" y="571"/>
                  </a:lnTo>
                  <a:lnTo>
                    <a:pt x="452" y="571"/>
                  </a:lnTo>
                  <a:lnTo>
                    <a:pt x="456" y="569"/>
                  </a:lnTo>
                  <a:lnTo>
                    <a:pt x="459" y="571"/>
                  </a:lnTo>
                  <a:lnTo>
                    <a:pt x="461" y="571"/>
                  </a:lnTo>
                  <a:lnTo>
                    <a:pt x="463" y="569"/>
                  </a:lnTo>
                  <a:lnTo>
                    <a:pt x="463" y="569"/>
                  </a:lnTo>
                  <a:lnTo>
                    <a:pt x="465" y="565"/>
                  </a:lnTo>
                  <a:lnTo>
                    <a:pt x="469" y="562"/>
                  </a:lnTo>
                  <a:lnTo>
                    <a:pt x="473" y="561"/>
                  </a:lnTo>
                  <a:lnTo>
                    <a:pt x="474" y="561"/>
                  </a:lnTo>
                  <a:lnTo>
                    <a:pt x="474" y="561"/>
                  </a:lnTo>
                  <a:lnTo>
                    <a:pt x="479" y="565"/>
                  </a:lnTo>
                  <a:lnTo>
                    <a:pt x="483" y="566"/>
                  </a:lnTo>
                  <a:lnTo>
                    <a:pt x="488" y="568"/>
                  </a:lnTo>
                  <a:lnTo>
                    <a:pt x="488" y="568"/>
                  </a:lnTo>
                  <a:lnTo>
                    <a:pt x="492" y="569"/>
                  </a:lnTo>
                  <a:lnTo>
                    <a:pt x="494" y="572"/>
                  </a:lnTo>
                  <a:lnTo>
                    <a:pt x="492" y="577"/>
                  </a:lnTo>
                  <a:lnTo>
                    <a:pt x="492" y="577"/>
                  </a:lnTo>
                  <a:lnTo>
                    <a:pt x="494" y="580"/>
                  </a:lnTo>
                  <a:lnTo>
                    <a:pt x="498" y="583"/>
                  </a:lnTo>
                  <a:lnTo>
                    <a:pt x="504" y="587"/>
                  </a:lnTo>
                  <a:lnTo>
                    <a:pt x="508" y="589"/>
                  </a:lnTo>
                  <a:lnTo>
                    <a:pt x="508" y="589"/>
                  </a:lnTo>
                  <a:lnTo>
                    <a:pt x="511" y="591"/>
                  </a:lnTo>
                  <a:lnTo>
                    <a:pt x="511" y="591"/>
                  </a:lnTo>
                  <a:lnTo>
                    <a:pt x="513" y="591"/>
                  </a:lnTo>
                  <a:lnTo>
                    <a:pt x="516" y="591"/>
                  </a:lnTo>
                  <a:lnTo>
                    <a:pt x="519" y="590"/>
                  </a:lnTo>
                  <a:lnTo>
                    <a:pt x="520" y="589"/>
                  </a:lnTo>
                  <a:lnTo>
                    <a:pt x="520" y="589"/>
                  </a:lnTo>
                  <a:lnTo>
                    <a:pt x="522" y="586"/>
                  </a:lnTo>
                  <a:lnTo>
                    <a:pt x="524" y="586"/>
                  </a:lnTo>
                  <a:lnTo>
                    <a:pt x="527" y="587"/>
                  </a:lnTo>
                  <a:lnTo>
                    <a:pt x="529" y="589"/>
                  </a:lnTo>
                  <a:lnTo>
                    <a:pt x="529" y="589"/>
                  </a:lnTo>
                  <a:lnTo>
                    <a:pt x="531" y="591"/>
                  </a:lnTo>
                  <a:lnTo>
                    <a:pt x="533" y="591"/>
                  </a:lnTo>
                  <a:lnTo>
                    <a:pt x="536" y="591"/>
                  </a:lnTo>
                  <a:lnTo>
                    <a:pt x="538" y="589"/>
                  </a:lnTo>
                  <a:lnTo>
                    <a:pt x="538" y="589"/>
                  </a:lnTo>
                  <a:lnTo>
                    <a:pt x="540" y="589"/>
                  </a:lnTo>
                  <a:lnTo>
                    <a:pt x="541" y="589"/>
                  </a:lnTo>
                  <a:lnTo>
                    <a:pt x="542" y="590"/>
                  </a:lnTo>
                  <a:lnTo>
                    <a:pt x="544" y="593"/>
                  </a:lnTo>
                  <a:lnTo>
                    <a:pt x="542" y="596"/>
                  </a:lnTo>
                  <a:lnTo>
                    <a:pt x="542" y="596"/>
                  </a:lnTo>
                  <a:lnTo>
                    <a:pt x="541" y="598"/>
                  </a:lnTo>
                  <a:lnTo>
                    <a:pt x="541" y="601"/>
                  </a:lnTo>
                  <a:lnTo>
                    <a:pt x="542" y="605"/>
                  </a:lnTo>
                  <a:lnTo>
                    <a:pt x="545" y="609"/>
                  </a:lnTo>
                  <a:lnTo>
                    <a:pt x="545" y="609"/>
                  </a:lnTo>
                  <a:lnTo>
                    <a:pt x="548" y="611"/>
                  </a:lnTo>
                  <a:lnTo>
                    <a:pt x="549" y="609"/>
                  </a:lnTo>
                  <a:lnTo>
                    <a:pt x="551" y="605"/>
                  </a:lnTo>
                  <a:lnTo>
                    <a:pt x="549" y="602"/>
                  </a:lnTo>
                  <a:lnTo>
                    <a:pt x="549" y="602"/>
                  </a:lnTo>
                  <a:lnTo>
                    <a:pt x="551" y="600"/>
                  </a:lnTo>
                  <a:lnTo>
                    <a:pt x="555" y="596"/>
                  </a:lnTo>
                  <a:lnTo>
                    <a:pt x="562" y="593"/>
                  </a:lnTo>
                  <a:lnTo>
                    <a:pt x="572" y="590"/>
                  </a:lnTo>
                  <a:lnTo>
                    <a:pt x="572" y="590"/>
                  </a:lnTo>
                  <a:lnTo>
                    <a:pt x="583" y="584"/>
                  </a:lnTo>
                  <a:lnTo>
                    <a:pt x="592" y="579"/>
                  </a:lnTo>
                  <a:lnTo>
                    <a:pt x="599" y="575"/>
                  </a:lnTo>
                  <a:lnTo>
                    <a:pt x="602" y="572"/>
                  </a:lnTo>
                  <a:lnTo>
                    <a:pt x="602" y="572"/>
                  </a:lnTo>
                  <a:lnTo>
                    <a:pt x="605" y="571"/>
                  </a:lnTo>
                  <a:lnTo>
                    <a:pt x="608" y="572"/>
                  </a:lnTo>
                  <a:lnTo>
                    <a:pt x="613" y="573"/>
                  </a:lnTo>
                  <a:lnTo>
                    <a:pt x="616" y="573"/>
                  </a:lnTo>
                  <a:lnTo>
                    <a:pt x="617" y="572"/>
                  </a:lnTo>
                  <a:lnTo>
                    <a:pt x="617" y="572"/>
                  </a:lnTo>
                  <a:lnTo>
                    <a:pt x="623" y="569"/>
                  </a:lnTo>
                  <a:lnTo>
                    <a:pt x="631" y="569"/>
                  </a:lnTo>
                  <a:lnTo>
                    <a:pt x="645" y="568"/>
                  </a:lnTo>
                  <a:lnTo>
                    <a:pt x="645" y="568"/>
                  </a:lnTo>
                  <a:lnTo>
                    <a:pt x="648" y="566"/>
                  </a:lnTo>
                  <a:lnTo>
                    <a:pt x="649" y="565"/>
                  </a:lnTo>
                  <a:lnTo>
                    <a:pt x="654" y="559"/>
                  </a:lnTo>
                  <a:lnTo>
                    <a:pt x="654" y="559"/>
                  </a:lnTo>
                  <a:lnTo>
                    <a:pt x="659" y="555"/>
                  </a:lnTo>
                  <a:lnTo>
                    <a:pt x="660" y="554"/>
                  </a:lnTo>
                  <a:lnTo>
                    <a:pt x="663" y="552"/>
                  </a:lnTo>
                  <a:lnTo>
                    <a:pt x="663" y="552"/>
                  </a:lnTo>
                  <a:lnTo>
                    <a:pt x="667" y="550"/>
                  </a:lnTo>
                  <a:lnTo>
                    <a:pt x="670" y="548"/>
                  </a:lnTo>
                  <a:lnTo>
                    <a:pt x="672" y="546"/>
                  </a:lnTo>
                  <a:lnTo>
                    <a:pt x="673" y="543"/>
                  </a:lnTo>
                  <a:lnTo>
                    <a:pt x="673" y="543"/>
                  </a:lnTo>
                  <a:lnTo>
                    <a:pt x="674" y="541"/>
                  </a:lnTo>
                  <a:lnTo>
                    <a:pt x="677" y="540"/>
                  </a:lnTo>
                  <a:lnTo>
                    <a:pt x="681" y="537"/>
                  </a:lnTo>
                  <a:lnTo>
                    <a:pt x="683" y="536"/>
                  </a:lnTo>
                  <a:lnTo>
                    <a:pt x="683" y="536"/>
                  </a:lnTo>
                  <a:lnTo>
                    <a:pt x="684" y="534"/>
                  </a:lnTo>
                  <a:lnTo>
                    <a:pt x="687" y="532"/>
                  </a:lnTo>
                  <a:lnTo>
                    <a:pt x="690" y="530"/>
                  </a:lnTo>
                  <a:lnTo>
                    <a:pt x="691" y="529"/>
                  </a:lnTo>
                  <a:lnTo>
                    <a:pt x="691" y="529"/>
                  </a:lnTo>
                  <a:lnTo>
                    <a:pt x="691" y="526"/>
                  </a:lnTo>
                  <a:lnTo>
                    <a:pt x="694" y="525"/>
                  </a:lnTo>
                  <a:lnTo>
                    <a:pt x="695" y="525"/>
                  </a:lnTo>
                  <a:lnTo>
                    <a:pt x="698" y="522"/>
                  </a:lnTo>
                  <a:lnTo>
                    <a:pt x="698" y="522"/>
                  </a:lnTo>
                  <a:lnTo>
                    <a:pt x="698" y="519"/>
                  </a:lnTo>
                  <a:lnTo>
                    <a:pt x="698" y="516"/>
                  </a:lnTo>
                  <a:lnTo>
                    <a:pt x="698" y="512"/>
                  </a:lnTo>
                  <a:lnTo>
                    <a:pt x="699" y="511"/>
                  </a:lnTo>
                  <a:lnTo>
                    <a:pt x="699" y="511"/>
                  </a:lnTo>
                  <a:lnTo>
                    <a:pt x="701" y="509"/>
                  </a:lnTo>
                  <a:lnTo>
                    <a:pt x="701" y="507"/>
                  </a:lnTo>
                  <a:lnTo>
                    <a:pt x="698" y="503"/>
                  </a:lnTo>
                  <a:lnTo>
                    <a:pt x="698" y="503"/>
                  </a:lnTo>
                  <a:lnTo>
                    <a:pt x="698" y="501"/>
                  </a:lnTo>
                  <a:lnTo>
                    <a:pt x="701" y="501"/>
                  </a:lnTo>
                  <a:lnTo>
                    <a:pt x="709" y="498"/>
                  </a:lnTo>
                  <a:lnTo>
                    <a:pt x="709" y="498"/>
                  </a:lnTo>
                  <a:lnTo>
                    <a:pt x="713" y="493"/>
                  </a:lnTo>
                  <a:lnTo>
                    <a:pt x="716" y="487"/>
                  </a:lnTo>
                  <a:lnTo>
                    <a:pt x="716" y="487"/>
                  </a:lnTo>
                  <a:lnTo>
                    <a:pt x="717" y="483"/>
                  </a:lnTo>
                  <a:lnTo>
                    <a:pt x="720" y="480"/>
                  </a:lnTo>
                  <a:lnTo>
                    <a:pt x="726" y="478"/>
                  </a:lnTo>
                  <a:lnTo>
                    <a:pt x="726" y="478"/>
                  </a:lnTo>
                  <a:lnTo>
                    <a:pt x="727" y="476"/>
                  </a:lnTo>
                  <a:lnTo>
                    <a:pt x="729" y="472"/>
                  </a:lnTo>
                  <a:lnTo>
                    <a:pt x="729" y="465"/>
                  </a:lnTo>
                  <a:lnTo>
                    <a:pt x="729" y="465"/>
                  </a:lnTo>
                  <a:lnTo>
                    <a:pt x="730" y="462"/>
                  </a:lnTo>
                  <a:lnTo>
                    <a:pt x="731" y="461"/>
                  </a:lnTo>
                  <a:lnTo>
                    <a:pt x="733" y="459"/>
                  </a:lnTo>
                  <a:lnTo>
                    <a:pt x="731" y="458"/>
                  </a:lnTo>
                  <a:lnTo>
                    <a:pt x="731" y="458"/>
                  </a:lnTo>
                  <a:lnTo>
                    <a:pt x="731" y="457"/>
                  </a:lnTo>
                  <a:lnTo>
                    <a:pt x="731" y="454"/>
                  </a:lnTo>
                  <a:lnTo>
                    <a:pt x="734" y="451"/>
                  </a:lnTo>
                  <a:lnTo>
                    <a:pt x="738" y="450"/>
                  </a:lnTo>
                  <a:lnTo>
                    <a:pt x="738" y="450"/>
                  </a:lnTo>
                  <a:lnTo>
                    <a:pt x="740" y="448"/>
                  </a:lnTo>
                  <a:lnTo>
                    <a:pt x="738" y="447"/>
                  </a:lnTo>
                  <a:lnTo>
                    <a:pt x="735" y="447"/>
                  </a:lnTo>
                  <a:lnTo>
                    <a:pt x="731" y="447"/>
                  </a:lnTo>
                  <a:lnTo>
                    <a:pt x="731" y="447"/>
                  </a:lnTo>
                  <a:lnTo>
                    <a:pt x="731" y="447"/>
                  </a:lnTo>
                  <a:lnTo>
                    <a:pt x="730" y="447"/>
                  </a:lnTo>
                  <a:lnTo>
                    <a:pt x="727" y="446"/>
                  </a:lnTo>
                  <a:lnTo>
                    <a:pt x="724" y="443"/>
                  </a:lnTo>
                  <a:lnTo>
                    <a:pt x="724" y="443"/>
                  </a:lnTo>
                  <a:lnTo>
                    <a:pt x="723" y="444"/>
                  </a:lnTo>
                  <a:lnTo>
                    <a:pt x="723" y="444"/>
                  </a:lnTo>
                  <a:lnTo>
                    <a:pt x="720" y="446"/>
                  </a:lnTo>
                  <a:lnTo>
                    <a:pt x="717" y="444"/>
                  </a:lnTo>
                  <a:lnTo>
                    <a:pt x="716" y="443"/>
                  </a:lnTo>
                  <a:lnTo>
                    <a:pt x="716" y="441"/>
                  </a:lnTo>
                  <a:lnTo>
                    <a:pt x="717" y="441"/>
                  </a:lnTo>
                  <a:lnTo>
                    <a:pt x="717" y="441"/>
                  </a:lnTo>
                  <a:lnTo>
                    <a:pt x="726" y="437"/>
                  </a:lnTo>
                  <a:lnTo>
                    <a:pt x="734" y="433"/>
                  </a:lnTo>
                  <a:lnTo>
                    <a:pt x="734" y="433"/>
                  </a:lnTo>
                  <a:lnTo>
                    <a:pt x="734" y="432"/>
                  </a:lnTo>
                  <a:lnTo>
                    <a:pt x="734" y="430"/>
                  </a:lnTo>
                  <a:lnTo>
                    <a:pt x="731" y="428"/>
                  </a:lnTo>
                  <a:lnTo>
                    <a:pt x="729" y="425"/>
                  </a:lnTo>
                  <a:lnTo>
                    <a:pt x="724" y="425"/>
                  </a:lnTo>
                  <a:lnTo>
                    <a:pt x="724" y="425"/>
                  </a:lnTo>
                  <a:lnTo>
                    <a:pt x="720" y="422"/>
                  </a:lnTo>
                  <a:lnTo>
                    <a:pt x="717" y="419"/>
                  </a:lnTo>
                  <a:lnTo>
                    <a:pt x="713" y="415"/>
                  </a:lnTo>
                  <a:lnTo>
                    <a:pt x="710" y="414"/>
                  </a:lnTo>
                  <a:lnTo>
                    <a:pt x="710" y="414"/>
                  </a:lnTo>
                  <a:lnTo>
                    <a:pt x="709" y="414"/>
                  </a:lnTo>
                  <a:lnTo>
                    <a:pt x="710" y="412"/>
                  </a:lnTo>
                  <a:lnTo>
                    <a:pt x="715" y="412"/>
                  </a:lnTo>
                  <a:lnTo>
                    <a:pt x="719" y="414"/>
                  </a:lnTo>
                  <a:lnTo>
                    <a:pt x="719" y="414"/>
                  </a:lnTo>
                  <a:lnTo>
                    <a:pt x="727" y="416"/>
                  </a:lnTo>
                  <a:lnTo>
                    <a:pt x="730" y="418"/>
                  </a:lnTo>
                  <a:lnTo>
                    <a:pt x="733" y="416"/>
                  </a:lnTo>
                  <a:lnTo>
                    <a:pt x="733" y="416"/>
                  </a:lnTo>
                  <a:lnTo>
                    <a:pt x="733" y="415"/>
                  </a:lnTo>
                  <a:lnTo>
                    <a:pt x="733" y="414"/>
                  </a:lnTo>
                  <a:lnTo>
                    <a:pt x="729" y="410"/>
                  </a:lnTo>
                  <a:lnTo>
                    <a:pt x="720" y="401"/>
                  </a:lnTo>
                  <a:lnTo>
                    <a:pt x="720" y="401"/>
                  </a:lnTo>
                  <a:lnTo>
                    <a:pt x="717" y="398"/>
                  </a:lnTo>
                  <a:lnTo>
                    <a:pt x="717" y="396"/>
                  </a:lnTo>
                  <a:lnTo>
                    <a:pt x="717" y="394"/>
                  </a:lnTo>
                  <a:lnTo>
                    <a:pt x="717" y="391"/>
                  </a:lnTo>
                  <a:lnTo>
                    <a:pt x="717" y="391"/>
                  </a:lnTo>
                  <a:lnTo>
                    <a:pt x="715" y="389"/>
                  </a:lnTo>
                  <a:lnTo>
                    <a:pt x="712" y="383"/>
                  </a:lnTo>
                  <a:lnTo>
                    <a:pt x="708" y="373"/>
                  </a:lnTo>
                  <a:lnTo>
                    <a:pt x="708" y="373"/>
                  </a:lnTo>
                  <a:lnTo>
                    <a:pt x="705" y="369"/>
                  </a:lnTo>
                  <a:lnTo>
                    <a:pt x="701" y="368"/>
                  </a:lnTo>
                  <a:lnTo>
                    <a:pt x="697" y="365"/>
                  </a:lnTo>
                  <a:lnTo>
                    <a:pt x="694" y="364"/>
                  </a:lnTo>
                  <a:lnTo>
                    <a:pt x="694" y="364"/>
                  </a:lnTo>
                  <a:lnTo>
                    <a:pt x="692" y="360"/>
                  </a:lnTo>
                  <a:lnTo>
                    <a:pt x="694" y="355"/>
                  </a:lnTo>
                  <a:lnTo>
                    <a:pt x="697" y="351"/>
                  </a:lnTo>
                  <a:lnTo>
                    <a:pt x="701" y="348"/>
                  </a:lnTo>
                  <a:lnTo>
                    <a:pt x="701" y="348"/>
                  </a:lnTo>
                  <a:lnTo>
                    <a:pt x="705" y="346"/>
                  </a:lnTo>
                  <a:lnTo>
                    <a:pt x="706" y="343"/>
                  </a:lnTo>
                  <a:lnTo>
                    <a:pt x="706" y="341"/>
                  </a:lnTo>
                  <a:lnTo>
                    <a:pt x="708" y="340"/>
                  </a:lnTo>
                  <a:lnTo>
                    <a:pt x="708" y="340"/>
                  </a:lnTo>
                  <a:lnTo>
                    <a:pt x="710" y="340"/>
                  </a:lnTo>
                  <a:lnTo>
                    <a:pt x="712" y="340"/>
                  </a:lnTo>
                  <a:lnTo>
                    <a:pt x="715" y="337"/>
                  </a:lnTo>
                  <a:lnTo>
                    <a:pt x="716" y="335"/>
                  </a:lnTo>
                  <a:lnTo>
                    <a:pt x="716" y="335"/>
                  </a:lnTo>
                  <a:lnTo>
                    <a:pt x="719" y="332"/>
                  </a:lnTo>
                  <a:lnTo>
                    <a:pt x="722" y="330"/>
                  </a:lnTo>
                  <a:lnTo>
                    <a:pt x="724" y="330"/>
                  </a:lnTo>
                  <a:lnTo>
                    <a:pt x="726" y="329"/>
                  </a:lnTo>
                  <a:lnTo>
                    <a:pt x="726" y="329"/>
                  </a:lnTo>
                  <a:lnTo>
                    <a:pt x="730" y="328"/>
                  </a:lnTo>
                  <a:lnTo>
                    <a:pt x="734" y="326"/>
                  </a:lnTo>
                  <a:lnTo>
                    <a:pt x="740" y="326"/>
                  </a:lnTo>
                  <a:lnTo>
                    <a:pt x="744" y="325"/>
                  </a:lnTo>
                  <a:lnTo>
                    <a:pt x="744" y="325"/>
                  </a:lnTo>
                  <a:lnTo>
                    <a:pt x="745" y="323"/>
                  </a:lnTo>
                  <a:lnTo>
                    <a:pt x="745" y="321"/>
                  </a:lnTo>
                  <a:lnTo>
                    <a:pt x="742" y="318"/>
                  </a:lnTo>
                  <a:lnTo>
                    <a:pt x="740" y="315"/>
                  </a:lnTo>
                  <a:lnTo>
                    <a:pt x="735" y="314"/>
                  </a:lnTo>
                  <a:lnTo>
                    <a:pt x="735" y="314"/>
                  </a:lnTo>
                  <a:lnTo>
                    <a:pt x="731" y="315"/>
                  </a:lnTo>
                  <a:lnTo>
                    <a:pt x="727" y="314"/>
                  </a:lnTo>
                  <a:lnTo>
                    <a:pt x="723" y="311"/>
                  </a:lnTo>
                  <a:lnTo>
                    <a:pt x="720" y="308"/>
                  </a:lnTo>
                  <a:lnTo>
                    <a:pt x="720" y="308"/>
                  </a:lnTo>
                  <a:lnTo>
                    <a:pt x="717" y="307"/>
                  </a:lnTo>
                  <a:lnTo>
                    <a:pt x="716" y="307"/>
                  </a:lnTo>
                  <a:lnTo>
                    <a:pt x="710" y="311"/>
                  </a:lnTo>
                  <a:lnTo>
                    <a:pt x="705" y="318"/>
                  </a:lnTo>
                  <a:lnTo>
                    <a:pt x="699" y="322"/>
                  </a:lnTo>
                  <a:lnTo>
                    <a:pt x="699" y="322"/>
                  </a:lnTo>
                  <a:lnTo>
                    <a:pt x="697" y="322"/>
                  </a:lnTo>
                  <a:lnTo>
                    <a:pt x="694" y="322"/>
                  </a:lnTo>
                  <a:lnTo>
                    <a:pt x="690" y="319"/>
                  </a:lnTo>
                  <a:lnTo>
                    <a:pt x="688" y="314"/>
                  </a:lnTo>
                  <a:lnTo>
                    <a:pt x="690" y="310"/>
                  </a:lnTo>
                  <a:lnTo>
                    <a:pt x="690" y="310"/>
                  </a:lnTo>
                  <a:lnTo>
                    <a:pt x="690" y="307"/>
                  </a:lnTo>
                  <a:lnTo>
                    <a:pt x="690" y="305"/>
                  </a:lnTo>
                  <a:lnTo>
                    <a:pt x="685" y="304"/>
                  </a:lnTo>
                  <a:lnTo>
                    <a:pt x="680" y="304"/>
                  </a:lnTo>
                  <a:lnTo>
                    <a:pt x="673" y="304"/>
                  </a:lnTo>
                  <a:lnTo>
                    <a:pt x="673" y="304"/>
                  </a:lnTo>
                  <a:lnTo>
                    <a:pt x="670" y="303"/>
                  </a:lnTo>
                  <a:lnTo>
                    <a:pt x="667" y="301"/>
                  </a:lnTo>
                  <a:lnTo>
                    <a:pt x="666" y="298"/>
                  </a:lnTo>
                  <a:lnTo>
                    <a:pt x="666" y="294"/>
                  </a:lnTo>
                  <a:lnTo>
                    <a:pt x="669" y="287"/>
                  </a:lnTo>
                  <a:lnTo>
                    <a:pt x="670" y="286"/>
                  </a:lnTo>
                  <a:lnTo>
                    <a:pt x="673" y="285"/>
                  </a:lnTo>
                  <a:lnTo>
                    <a:pt x="673" y="285"/>
                  </a:lnTo>
                  <a:lnTo>
                    <a:pt x="677" y="285"/>
                  </a:lnTo>
                  <a:lnTo>
                    <a:pt x="683" y="286"/>
                  </a:lnTo>
                  <a:lnTo>
                    <a:pt x="685" y="285"/>
                  </a:lnTo>
                  <a:lnTo>
                    <a:pt x="688" y="285"/>
                  </a:lnTo>
                  <a:lnTo>
                    <a:pt x="690" y="282"/>
                  </a:lnTo>
                  <a:lnTo>
                    <a:pt x="692" y="279"/>
                  </a:lnTo>
                  <a:lnTo>
                    <a:pt x="692" y="279"/>
                  </a:lnTo>
                  <a:lnTo>
                    <a:pt x="694" y="275"/>
                  </a:lnTo>
                  <a:lnTo>
                    <a:pt x="695" y="273"/>
                  </a:lnTo>
                  <a:lnTo>
                    <a:pt x="699" y="272"/>
                  </a:lnTo>
                  <a:lnTo>
                    <a:pt x="705" y="271"/>
                  </a:lnTo>
                  <a:lnTo>
                    <a:pt x="708" y="269"/>
                  </a:lnTo>
                  <a:lnTo>
                    <a:pt x="710" y="265"/>
                  </a:lnTo>
                  <a:lnTo>
                    <a:pt x="710" y="265"/>
                  </a:lnTo>
                  <a:lnTo>
                    <a:pt x="717" y="260"/>
                  </a:lnTo>
                  <a:lnTo>
                    <a:pt x="724" y="254"/>
                  </a:lnTo>
                  <a:lnTo>
                    <a:pt x="727" y="253"/>
                  </a:lnTo>
                  <a:lnTo>
                    <a:pt x="731" y="253"/>
                  </a:lnTo>
                  <a:lnTo>
                    <a:pt x="734" y="254"/>
                  </a:lnTo>
                  <a:lnTo>
                    <a:pt x="737" y="255"/>
                  </a:lnTo>
                  <a:lnTo>
                    <a:pt x="737" y="255"/>
                  </a:lnTo>
                  <a:lnTo>
                    <a:pt x="738" y="258"/>
                  </a:lnTo>
                  <a:lnTo>
                    <a:pt x="738" y="261"/>
                  </a:lnTo>
                  <a:lnTo>
                    <a:pt x="738" y="264"/>
                  </a:lnTo>
                  <a:lnTo>
                    <a:pt x="735" y="267"/>
                  </a:lnTo>
                  <a:lnTo>
                    <a:pt x="730" y="272"/>
                  </a:lnTo>
                  <a:lnTo>
                    <a:pt x="726" y="276"/>
                  </a:lnTo>
                  <a:lnTo>
                    <a:pt x="726" y="276"/>
                  </a:lnTo>
                  <a:lnTo>
                    <a:pt x="726" y="280"/>
                  </a:lnTo>
                  <a:lnTo>
                    <a:pt x="726" y="283"/>
                  </a:lnTo>
                  <a:lnTo>
                    <a:pt x="726" y="286"/>
                  </a:lnTo>
                  <a:lnTo>
                    <a:pt x="724" y="289"/>
                  </a:lnTo>
                  <a:lnTo>
                    <a:pt x="724" y="289"/>
                  </a:lnTo>
                  <a:lnTo>
                    <a:pt x="723" y="292"/>
                  </a:lnTo>
                  <a:lnTo>
                    <a:pt x="724" y="293"/>
                  </a:lnTo>
                  <a:lnTo>
                    <a:pt x="729" y="292"/>
                  </a:lnTo>
                  <a:lnTo>
                    <a:pt x="735" y="289"/>
                  </a:lnTo>
                  <a:lnTo>
                    <a:pt x="735" y="289"/>
                  </a:lnTo>
                  <a:lnTo>
                    <a:pt x="749" y="279"/>
                  </a:lnTo>
                  <a:lnTo>
                    <a:pt x="763" y="272"/>
                  </a:lnTo>
                  <a:lnTo>
                    <a:pt x="763" y="272"/>
                  </a:lnTo>
                  <a:lnTo>
                    <a:pt x="767" y="271"/>
                  </a:lnTo>
                  <a:lnTo>
                    <a:pt x="772" y="271"/>
                  </a:lnTo>
                  <a:lnTo>
                    <a:pt x="772" y="271"/>
                  </a:lnTo>
                  <a:lnTo>
                    <a:pt x="773" y="267"/>
                  </a:lnTo>
                  <a:lnTo>
                    <a:pt x="776" y="264"/>
                  </a:lnTo>
                  <a:lnTo>
                    <a:pt x="776" y="264"/>
                  </a:lnTo>
                  <a:lnTo>
                    <a:pt x="791" y="257"/>
                  </a:lnTo>
                  <a:lnTo>
                    <a:pt x="799" y="253"/>
                  </a:lnTo>
                  <a:lnTo>
                    <a:pt x="805" y="248"/>
                  </a:lnTo>
                  <a:lnTo>
                    <a:pt x="805" y="248"/>
                  </a:lnTo>
                  <a:lnTo>
                    <a:pt x="809" y="242"/>
                  </a:lnTo>
                  <a:lnTo>
                    <a:pt x="812" y="239"/>
                  </a:lnTo>
                  <a:lnTo>
                    <a:pt x="815" y="237"/>
                  </a:lnTo>
                  <a:lnTo>
                    <a:pt x="815" y="237"/>
                  </a:lnTo>
                  <a:lnTo>
                    <a:pt x="817" y="237"/>
                  </a:lnTo>
                  <a:lnTo>
                    <a:pt x="819" y="239"/>
                  </a:lnTo>
                  <a:lnTo>
                    <a:pt x="822" y="240"/>
                  </a:lnTo>
                  <a:lnTo>
                    <a:pt x="826" y="242"/>
                  </a:lnTo>
                  <a:lnTo>
                    <a:pt x="826" y="242"/>
                  </a:lnTo>
                  <a:lnTo>
                    <a:pt x="834" y="242"/>
                  </a:lnTo>
                  <a:lnTo>
                    <a:pt x="835" y="240"/>
                  </a:lnTo>
                  <a:lnTo>
                    <a:pt x="835" y="239"/>
                  </a:lnTo>
                  <a:lnTo>
                    <a:pt x="835" y="239"/>
                  </a:lnTo>
                  <a:lnTo>
                    <a:pt x="834" y="235"/>
                  </a:lnTo>
                  <a:lnTo>
                    <a:pt x="834" y="233"/>
                  </a:lnTo>
                  <a:lnTo>
                    <a:pt x="841" y="232"/>
                  </a:lnTo>
                  <a:lnTo>
                    <a:pt x="841" y="232"/>
                  </a:lnTo>
                  <a:lnTo>
                    <a:pt x="845" y="230"/>
                  </a:lnTo>
                  <a:lnTo>
                    <a:pt x="848" y="228"/>
                  </a:lnTo>
                  <a:lnTo>
                    <a:pt x="849" y="225"/>
                  </a:lnTo>
                  <a:lnTo>
                    <a:pt x="852" y="224"/>
                  </a:lnTo>
                  <a:lnTo>
                    <a:pt x="852" y="224"/>
                  </a:lnTo>
                  <a:lnTo>
                    <a:pt x="853" y="224"/>
                  </a:lnTo>
                  <a:lnTo>
                    <a:pt x="855" y="222"/>
                  </a:lnTo>
                  <a:lnTo>
                    <a:pt x="856" y="218"/>
                  </a:lnTo>
                  <a:lnTo>
                    <a:pt x="859" y="214"/>
                  </a:lnTo>
                  <a:lnTo>
                    <a:pt x="860" y="212"/>
                  </a:lnTo>
                  <a:lnTo>
                    <a:pt x="862" y="212"/>
                  </a:lnTo>
                  <a:lnTo>
                    <a:pt x="862" y="212"/>
                  </a:lnTo>
                  <a:lnTo>
                    <a:pt x="865" y="212"/>
                  </a:lnTo>
                  <a:lnTo>
                    <a:pt x="867" y="215"/>
                  </a:lnTo>
                  <a:lnTo>
                    <a:pt x="870" y="217"/>
                  </a:lnTo>
                  <a:lnTo>
                    <a:pt x="874" y="217"/>
                  </a:lnTo>
                  <a:lnTo>
                    <a:pt x="874" y="217"/>
                  </a:lnTo>
                  <a:lnTo>
                    <a:pt x="878" y="218"/>
                  </a:lnTo>
                  <a:lnTo>
                    <a:pt x="878" y="218"/>
                  </a:lnTo>
                  <a:lnTo>
                    <a:pt x="883" y="215"/>
                  </a:lnTo>
                  <a:lnTo>
                    <a:pt x="883" y="215"/>
                  </a:lnTo>
                  <a:lnTo>
                    <a:pt x="883" y="205"/>
                  </a:lnTo>
                  <a:lnTo>
                    <a:pt x="881" y="200"/>
                  </a:lnTo>
                  <a:lnTo>
                    <a:pt x="881" y="200"/>
                  </a:lnTo>
                  <a:lnTo>
                    <a:pt x="881" y="196"/>
                  </a:lnTo>
                  <a:lnTo>
                    <a:pt x="881" y="193"/>
                  </a:lnTo>
                  <a:lnTo>
                    <a:pt x="881" y="187"/>
                  </a:lnTo>
                  <a:lnTo>
                    <a:pt x="881" y="187"/>
                  </a:lnTo>
                  <a:lnTo>
                    <a:pt x="880" y="180"/>
                  </a:lnTo>
                  <a:lnTo>
                    <a:pt x="881" y="176"/>
                  </a:lnTo>
                  <a:lnTo>
                    <a:pt x="883" y="176"/>
                  </a:lnTo>
                  <a:lnTo>
                    <a:pt x="883" y="176"/>
                  </a:lnTo>
                  <a:lnTo>
                    <a:pt x="885" y="175"/>
                  </a:lnTo>
                  <a:lnTo>
                    <a:pt x="890" y="172"/>
                  </a:lnTo>
                  <a:lnTo>
                    <a:pt x="892" y="169"/>
                  </a:lnTo>
                  <a:lnTo>
                    <a:pt x="894" y="169"/>
                  </a:lnTo>
                  <a:lnTo>
                    <a:pt x="896" y="169"/>
                  </a:lnTo>
                  <a:lnTo>
                    <a:pt x="896" y="169"/>
                  </a:lnTo>
                  <a:lnTo>
                    <a:pt x="901" y="172"/>
                  </a:lnTo>
                  <a:lnTo>
                    <a:pt x="905" y="172"/>
                  </a:lnTo>
                  <a:lnTo>
                    <a:pt x="908" y="172"/>
                  </a:lnTo>
                  <a:lnTo>
                    <a:pt x="909" y="171"/>
                  </a:lnTo>
                  <a:lnTo>
                    <a:pt x="910" y="169"/>
                  </a:lnTo>
                  <a:lnTo>
                    <a:pt x="910" y="169"/>
                  </a:lnTo>
                  <a:lnTo>
                    <a:pt x="910" y="167"/>
                  </a:lnTo>
                  <a:lnTo>
                    <a:pt x="913" y="165"/>
                  </a:lnTo>
                  <a:lnTo>
                    <a:pt x="916" y="162"/>
                  </a:lnTo>
                  <a:lnTo>
                    <a:pt x="917" y="160"/>
                  </a:lnTo>
                  <a:lnTo>
                    <a:pt x="917" y="160"/>
                  </a:lnTo>
                  <a:lnTo>
                    <a:pt x="919" y="155"/>
                  </a:lnTo>
                  <a:lnTo>
                    <a:pt x="921" y="153"/>
                  </a:lnTo>
                  <a:lnTo>
                    <a:pt x="924" y="151"/>
                  </a:lnTo>
                  <a:lnTo>
                    <a:pt x="927" y="147"/>
                  </a:lnTo>
                  <a:lnTo>
                    <a:pt x="927" y="147"/>
                  </a:lnTo>
                  <a:lnTo>
                    <a:pt x="930" y="136"/>
                  </a:lnTo>
                  <a:lnTo>
                    <a:pt x="931" y="131"/>
                  </a:lnTo>
                  <a:lnTo>
                    <a:pt x="935" y="128"/>
                  </a:lnTo>
                  <a:lnTo>
                    <a:pt x="935" y="128"/>
                  </a:lnTo>
                  <a:lnTo>
                    <a:pt x="937" y="125"/>
                  </a:lnTo>
                  <a:lnTo>
                    <a:pt x="937" y="124"/>
                  </a:lnTo>
                  <a:lnTo>
                    <a:pt x="935" y="119"/>
                  </a:lnTo>
                  <a:lnTo>
                    <a:pt x="934" y="115"/>
                  </a:lnTo>
                  <a:lnTo>
                    <a:pt x="934" y="115"/>
                  </a:lnTo>
                  <a:close/>
                  <a:moveTo>
                    <a:pt x="542" y="616"/>
                  </a:moveTo>
                  <a:lnTo>
                    <a:pt x="542" y="616"/>
                  </a:lnTo>
                  <a:lnTo>
                    <a:pt x="537" y="618"/>
                  </a:lnTo>
                  <a:lnTo>
                    <a:pt x="530" y="622"/>
                  </a:lnTo>
                  <a:lnTo>
                    <a:pt x="527" y="625"/>
                  </a:lnTo>
                  <a:lnTo>
                    <a:pt x="526" y="629"/>
                  </a:lnTo>
                  <a:lnTo>
                    <a:pt x="526" y="633"/>
                  </a:lnTo>
                  <a:lnTo>
                    <a:pt x="527" y="637"/>
                  </a:lnTo>
                  <a:lnTo>
                    <a:pt x="527" y="637"/>
                  </a:lnTo>
                  <a:lnTo>
                    <a:pt x="530" y="641"/>
                  </a:lnTo>
                  <a:lnTo>
                    <a:pt x="534" y="643"/>
                  </a:lnTo>
                  <a:lnTo>
                    <a:pt x="538" y="644"/>
                  </a:lnTo>
                  <a:lnTo>
                    <a:pt x="542" y="643"/>
                  </a:lnTo>
                  <a:lnTo>
                    <a:pt x="549" y="640"/>
                  </a:lnTo>
                  <a:lnTo>
                    <a:pt x="552" y="637"/>
                  </a:lnTo>
                  <a:lnTo>
                    <a:pt x="554" y="636"/>
                  </a:lnTo>
                  <a:lnTo>
                    <a:pt x="554" y="636"/>
                  </a:lnTo>
                  <a:lnTo>
                    <a:pt x="555" y="632"/>
                  </a:lnTo>
                  <a:lnTo>
                    <a:pt x="558" y="626"/>
                  </a:lnTo>
                  <a:lnTo>
                    <a:pt x="561" y="621"/>
                  </a:lnTo>
                  <a:lnTo>
                    <a:pt x="562" y="618"/>
                  </a:lnTo>
                  <a:lnTo>
                    <a:pt x="562" y="618"/>
                  </a:lnTo>
                  <a:lnTo>
                    <a:pt x="561" y="616"/>
                  </a:lnTo>
                  <a:lnTo>
                    <a:pt x="559" y="615"/>
                  </a:lnTo>
                  <a:lnTo>
                    <a:pt x="554" y="615"/>
                  </a:lnTo>
                  <a:lnTo>
                    <a:pt x="542" y="616"/>
                  </a:lnTo>
                  <a:lnTo>
                    <a:pt x="542" y="6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40" name="Freeform 147"/>
            <p:cNvSpPr>
              <a:spLocks noEditPoints="1"/>
            </p:cNvSpPr>
            <p:nvPr/>
          </p:nvSpPr>
          <p:spPr bwMode="auto">
            <a:xfrm>
              <a:off x="7480301" y="3524250"/>
              <a:ext cx="231775" cy="333375"/>
            </a:xfrm>
            <a:custGeom>
              <a:avLst/>
              <a:gdLst>
                <a:gd name="T0" fmla="*/ 91 w 146"/>
                <a:gd name="T1" fmla="*/ 85 h 210"/>
                <a:gd name="T2" fmla="*/ 96 w 146"/>
                <a:gd name="T3" fmla="*/ 97 h 210"/>
                <a:gd name="T4" fmla="*/ 101 w 146"/>
                <a:gd name="T5" fmla="*/ 107 h 210"/>
                <a:gd name="T6" fmla="*/ 108 w 146"/>
                <a:gd name="T7" fmla="*/ 114 h 210"/>
                <a:gd name="T8" fmla="*/ 116 w 146"/>
                <a:gd name="T9" fmla="*/ 133 h 210"/>
                <a:gd name="T10" fmla="*/ 121 w 146"/>
                <a:gd name="T11" fmla="*/ 129 h 210"/>
                <a:gd name="T12" fmla="*/ 128 w 146"/>
                <a:gd name="T13" fmla="*/ 121 h 210"/>
                <a:gd name="T14" fmla="*/ 123 w 146"/>
                <a:gd name="T15" fmla="*/ 101 h 210"/>
                <a:gd name="T16" fmla="*/ 107 w 146"/>
                <a:gd name="T17" fmla="*/ 92 h 210"/>
                <a:gd name="T18" fmla="*/ 101 w 146"/>
                <a:gd name="T19" fmla="*/ 80 h 210"/>
                <a:gd name="T20" fmla="*/ 93 w 146"/>
                <a:gd name="T21" fmla="*/ 72 h 210"/>
                <a:gd name="T22" fmla="*/ 72 w 146"/>
                <a:gd name="T23" fmla="*/ 72 h 210"/>
                <a:gd name="T24" fmla="*/ 67 w 146"/>
                <a:gd name="T25" fmla="*/ 57 h 210"/>
                <a:gd name="T26" fmla="*/ 71 w 146"/>
                <a:gd name="T27" fmla="*/ 40 h 210"/>
                <a:gd name="T28" fmla="*/ 78 w 146"/>
                <a:gd name="T29" fmla="*/ 21 h 210"/>
                <a:gd name="T30" fmla="*/ 75 w 146"/>
                <a:gd name="T31" fmla="*/ 3 h 210"/>
                <a:gd name="T32" fmla="*/ 55 w 146"/>
                <a:gd name="T33" fmla="*/ 0 h 210"/>
                <a:gd name="T34" fmla="*/ 47 w 146"/>
                <a:gd name="T35" fmla="*/ 8 h 210"/>
                <a:gd name="T36" fmla="*/ 47 w 146"/>
                <a:gd name="T37" fmla="*/ 39 h 210"/>
                <a:gd name="T38" fmla="*/ 40 w 146"/>
                <a:gd name="T39" fmla="*/ 36 h 210"/>
                <a:gd name="T40" fmla="*/ 44 w 146"/>
                <a:gd name="T41" fmla="*/ 58 h 210"/>
                <a:gd name="T42" fmla="*/ 48 w 146"/>
                <a:gd name="T43" fmla="*/ 69 h 210"/>
                <a:gd name="T44" fmla="*/ 57 w 146"/>
                <a:gd name="T45" fmla="*/ 76 h 210"/>
                <a:gd name="T46" fmla="*/ 71 w 146"/>
                <a:gd name="T47" fmla="*/ 76 h 210"/>
                <a:gd name="T48" fmla="*/ 48 w 146"/>
                <a:gd name="T49" fmla="*/ 83 h 210"/>
                <a:gd name="T50" fmla="*/ 57 w 146"/>
                <a:gd name="T51" fmla="*/ 100 h 210"/>
                <a:gd name="T52" fmla="*/ 65 w 146"/>
                <a:gd name="T53" fmla="*/ 96 h 210"/>
                <a:gd name="T54" fmla="*/ 48 w 146"/>
                <a:gd name="T55" fmla="*/ 83 h 210"/>
                <a:gd name="T56" fmla="*/ 82 w 146"/>
                <a:gd name="T57" fmla="*/ 126 h 210"/>
                <a:gd name="T58" fmla="*/ 85 w 146"/>
                <a:gd name="T59" fmla="*/ 126 h 210"/>
                <a:gd name="T60" fmla="*/ 82 w 146"/>
                <a:gd name="T61" fmla="*/ 140 h 210"/>
                <a:gd name="T62" fmla="*/ 86 w 146"/>
                <a:gd name="T63" fmla="*/ 154 h 210"/>
                <a:gd name="T64" fmla="*/ 103 w 146"/>
                <a:gd name="T65" fmla="*/ 130 h 210"/>
                <a:gd name="T66" fmla="*/ 98 w 146"/>
                <a:gd name="T67" fmla="*/ 128 h 210"/>
                <a:gd name="T68" fmla="*/ 94 w 146"/>
                <a:gd name="T69" fmla="*/ 121 h 210"/>
                <a:gd name="T70" fmla="*/ 73 w 146"/>
                <a:gd name="T71" fmla="*/ 107 h 210"/>
                <a:gd name="T72" fmla="*/ 72 w 146"/>
                <a:gd name="T73" fmla="*/ 128 h 210"/>
                <a:gd name="T74" fmla="*/ 7 w 146"/>
                <a:gd name="T75" fmla="*/ 151 h 210"/>
                <a:gd name="T76" fmla="*/ 1 w 146"/>
                <a:gd name="T77" fmla="*/ 164 h 210"/>
                <a:gd name="T78" fmla="*/ 28 w 146"/>
                <a:gd name="T79" fmla="*/ 137 h 210"/>
                <a:gd name="T80" fmla="*/ 32 w 146"/>
                <a:gd name="T81" fmla="*/ 121 h 210"/>
                <a:gd name="T82" fmla="*/ 19 w 146"/>
                <a:gd name="T83" fmla="*/ 137 h 210"/>
                <a:gd name="T84" fmla="*/ 105 w 146"/>
                <a:gd name="T85" fmla="*/ 148 h 210"/>
                <a:gd name="T86" fmla="*/ 114 w 146"/>
                <a:gd name="T87" fmla="*/ 139 h 210"/>
                <a:gd name="T88" fmla="*/ 103 w 146"/>
                <a:gd name="T89" fmla="*/ 147 h 210"/>
                <a:gd name="T90" fmla="*/ 146 w 146"/>
                <a:gd name="T91" fmla="*/ 176 h 210"/>
                <a:gd name="T92" fmla="*/ 139 w 146"/>
                <a:gd name="T93" fmla="*/ 144 h 210"/>
                <a:gd name="T94" fmla="*/ 129 w 146"/>
                <a:gd name="T95" fmla="*/ 143 h 210"/>
                <a:gd name="T96" fmla="*/ 129 w 146"/>
                <a:gd name="T97" fmla="*/ 150 h 210"/>
                <a:gd name="T98" fmla="*/ 121 w 146"/>
                <a:gd name="T99" fmla="*/ 155 h 210"/>
                <a:gd name="T100" fmla="*/ 111 w 146"/>
                <a:gd name="T101" fmla="*/ 161 h 210"/>
                <a:gd name="T102" fmla="*/ 105 w 146"/>
                <a:gd name="T103" fmla="*/ 164 h 210"/>
                <a:gd name="T104" fmla="*/ 89 w 146"/>
                <a:gd name="T105" fmla="*/ 162 h 210"/>
                <a:gd name="T106" fmla="*/ 75 w 146"/>
                <a:gd name="T107" fmla="*/ 173 h 210"/>
                <a:gd name="T108" fmla="*/ 73 w 146"/>
                <a:gd name="T109" fmla="*/ 186 h 210"/>
                <a:gd name="T110" fmla="*/ 87 w 146"/>
                <a:gd name="T111" fmla="*/ 179 h 210"/>
                <a:gd name="T112" fmla="*/ 98 w 146"/>
                <a:gd name="T113" fmla="*/ 175 h 210"/>
                <a:gd name="T114" fmla="*/ 108 w 146"/>
                <a:gd name="T115" fmla="*/ 200 h 210"/>
                <a:gd name="T116" fmla="*/ 125 w 146"/>
                <a:gd name="T117" fmla="*/ 208 h 210"/>
                <a:gd name="T118" fmla="*/ 129 w 146"/>
                <a:gd name="T119" fmla="*/ 201 h 210"/>
                <a:gd name="T120" fmla="*/ 129 w 146"/>
                <a:gd name="T121" fmla="*/ 187 h 210"/>
                <a:gd name="T122" fmla="*/ 144 w 146"/>
                <a:gd name="T123" fmla="*/ 183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6" h="210">
                  <a:moveTo>
                    <a:pt x="78" y="79"/>
                  </a:moveTo>
                  <a:lnTo>
                    <a:pt x="78" y="79"/>
                  </a:lnTo>
                  <a:lnTo>
                    <a:pt x="82" y="79"/>
                  </a:lnTo>
                  <a:lnTo>
                    <a:pt x="85" y="80"/>
                  </a:lnTo>
                  <a:lnTo>
                    <a:pt x="91" y="85"/>
                  </a:lnTo>
                  <a:lnTo>
                    <a:pt x="96" y="89"/>
                  </a:lnTo>
                  <a:lnTo>
                    <a:pt x="97" y="92"/>
                  </a:lnTo>
                  <a:lnTo>
                    <a:pt x="97" y="93"/>
                  </a:lnTo>
                  <a:lnTo>
                    <a:pt x="97" y="93"/>
                  </a:lnTo>
                  <a:lnTo>
                    <a:pt x="96" y="97"/>
                  </a:lnTo>
                  <a:lnTo>
                    <a:pt x="97" y="103"/>
                  </a:lnTo>
                  <a:lnTo>
                    <a:pt x="98" y="107"/>
                  </a:lnTo>
                  <a:lnTo>
                    <a:pt x="100" y="108"/>
                  </a:lnTo>
                  <a:lnTo>
                    <a:pt x="101" y="107"/>
                  </a:lnTo>
                  <a:lnTo>
                    <a:pt x="101" y="107"/>
                  </a:lnTo>
                  <a:lnTo>
                    <a:pt x="105" y="105"/>
                  </a:lnTo>
                  <a:lnTo>
                    <a:pt x="108" y="107"/>
                  </a:lnTo>
                  <a:lnTo>
                    <a:pt x="110" y="110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7" y="117"/>
                  </a:lnTo>
                  <a:lnTo>
                    <a:pt x="107" y="118"/>
                  </a:lnTo>
                  <a:lnTo>
                    <a:pt x="110" y="123"/>
                  </a:lnTo>
                  <a:lnTo>
                    <a:pt x="114" y="128"/>
                  </a:lnTo>
                  <a:lnTo>
                    <a:pt x="116" y="133"/>
                  </a:lnTo>
                  <a:lnTo>
                    <a:pt x="116" y="133"/>
                  </a:lnTo>
                  <a:lnTo>
                    <a:pt x="118" y="137"/>
                  </a:lnTo>
                  <a:lnTo>
                    <a:pt x="119" y="136"/>
                  </a:lnTo>
                  <a:lnTo>
                    <a:pt x="121" y="133"/>
                  </a:lnTo>
                  <a:lnTo>
                    <a:pt x="121" y="129"/>
                  </a:lnTo>
                  <a:lnTo>
                    <a:pt x="121" y="129"/>
                  </a:lnTo>
                  <a:lnTo>
                    <a:pt x="121" y="126"/>
                  </a:lnTo>
                  <a:lnTo>
                    <a:pt x="122" y="125"/>
                  </a:lnTo>
                  <a:lnTo>
                    <a:pt x="128" y="121"/>
                  </a:lnTo>
                  <a:lnTo>
                    <a:pt x="128" y="121"/>
                  </a:lnTo>
                  <a:lnTo>
                    <a:pt x="129" y="118"/>
                  </a:lnTo>
                  <a:lnTo>
                    <a:pt x="130" y="117"/>
                  </a:lnTo>
                  <a:lnTo>
                    <a:pt x="129" y="112"/>
                  </a:lnTo>
                  <a:lnTo>
                    <a:pt x="123" y="101"/>
                  </a:lnTo>
                  <a:lnTo>
                    <a:pt x="123" y="101"/>
                  </a:lnTo>
                  <a:lnTo>
                    <a:pt x="122" y="98"/>
                  </a:lnTo>
                  <a:lnTo>
                    <a:pt x="119" y="97"/>
                  </a:lnTo>
                  <a:lnTo>
                    <a:pt x="114" y="94"/>
                  </a:lnTo>
                  <a:lnTo>
                    <a:pt x="108" y="93"/>
                  </a:lnTo>
                  <a:lnTo>
                    <a:pt x="107" y="92"/>
                  </a:lnTo>
                  <a:lnTo>
                    <a:pt x="107" y="89"/>
                  </a:lnTo>
                  <a:lnTo>
                    <a:pt x="107" y="89"/>
                  </a:lnTo>
                  <a:lnTo>
                    <a:pt x="105" y="86"/>
                  </a:lnTo>
                  <a:lnTo>
                    <a:pt x="104" y="83"/>
                  </a:lnTo>
                  <a:lnTo>
                    <a:pt x="101" y="80"/>
                  </a:lnTo>
                  <a:lnTo>
                    <a:pt x="97" y="78"/>
                  </a:lnTo>
                  <a:lnTo>
                    <a:pt x="96" y="75"/>
                  </a:lnTo>
                  <a:lnTo>
                    <a:pt x="96" y="75"/>
                  </a:lnTo>
                  <a:lnTo>
                    <a:pt x="94" y="74"/>
                  </a:lnTo>
                  <a:lnTo>
                    <a:pt x="93" y="72"/>
                  </a:lnTo>
                  <a:lnTo>
                    <a:pt x="87" y="69"/>
                  </a:lnTo>
                  <a:lnTo>
                    <a:pt x="80" y="69"/>
                  </a:lnTo>
                  <a:lnTo>
                    <a:pt x="73" y="71"/>
                  </a:lnTo>
                  <a:lnTo>
                    <a:pt x="73" y="71"/>
                  </a:lnTo>
                  <a:lnTo>
                    <a:pt x="72" y="72"/>
                  </a:lnTo>
                  <a:lnTo>
                    <a:pt x="71" y="72"/>
                  </a:lnTo>
                  <a:lnTo>
                    <a:pt x="69" y="68"/>
                  </a:lnTo>
                  <a:lnTo>
                    <a:pt x="68" y="62"/>
                  </a:lnTo>
                  <a:lnTo>
                    <a:pt x="68" y="60"/>
                  </a:lnTo>
                  <a:lnTo>
                    <a:pt x="67" y="57"/>
                  </a:lnTo>
                  <a:lnTo>
                    <a:pt x="67" y="57"/>
                  </a:lnTo>
                  <a:lnTo>
                    <a:pt x="65" y="54"/>
                  </a:lnTo>
                  <a:lnTo>
                    <a:pt x="64" y="51"/>
                  </a:lnTo>
                  <a:lnTo>
                    <a:pt x="67" y="46"/>
                  </a:lnTo>
                  <a:lnTo>
                    <a:pt x="71" y="40"/>
                  </a:lnTo>
                  <a:lnTo>
                    <a:pt x="76" y="35"/>
                  </a:lnTo>
                  <a:lnTo>
                    <a:pt x="76" y="35"/>
                  </a:lnTo>
                  <a:lnTo>
                    <a:pt x="78" y="32"/>
                  </a:lnTo>
                  <a:lnTo>
                    <a:pt x="79" y="28"/>
                  </a:lnTo>
                  <a:lnTo>
                    <a:pt x="78" y="21"/>
                  </a:lnTo>
                  <a:lnTo>
                    <a:pt x="76" y="14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4"/>
                  </a:lnTo>
                  <a:lnTo>
                    <a:pt x="75" y="3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69" y="4"/>
                  </a:lnTo>
                  <a:lnTo>
                    <a:pt x="62" y="1"/>
                  </a:lnTo>
                  <a:lnTo>
                    <a:pt x="55" y="0"/>
                  </a:lnTo>
                  <a:lnTo>
                    <a:pt x="53" y="1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48" y="4"/>
                  </a:lnTo>
                  <a:lnTo>
                    <a:pt x="47" y="8"/>
                  </a:lnTo>
                  <a:lnTo>
                    <a:pt x="47" y="21"/>
                  </a:lnTo>
                  <a:lnTo>
                    <a:pt x="47" y="32"/>
                  </a:lnTo>
                  <a:lnTo>
                    <a:pt x="47" y="36"/>
                  </a:lnTo>
                  <a:lnTo>
                    <a:pt x="47" y="39"/>
                  </a:lnTo>
                  <a:lnTo>
                    <a:pt x="47" y="39"/>
                  </a:lnTo>
                  <a:lnTo>
                    <a:pt x="44" y="39"/>
                  </a:lnTo>
                  <a:lnTo>
                    <a:pt x="43" y="37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9" y="42"/>
                  </a:lnTo>
                  <a:lnTo>
                    <a:pt x="40" y="49"/>
                  </a:lnTo>
                  <a:lnTo>
                    <a:pt x="42" y="55"/>
                  </a:lnTo>
                  <a:lnTo>
                    <a:pt x="43" y="57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6" y="58"/>
                  </a:lnTo>
                  <a:lnTo>
                    <a:pt x="48" y="61"/>
                  </a:lnTo>
                  <a:lnTo>
                    <a:pt x="48" y="65"/>
                  </a:lnTo>
                  <a:lnTo>
                    <a:pt x="48" y="69"/>
                  </a:lnTo>
                  <a:lnTo>
                    <a:pt x="48" y="69"/>
                  </a:lnTo>
                  <a:lnTo>
                    <a:pt x="47" y="72"/>
                  </a:lnTo>
                  <a:lnTo>
                    <a:pt x="48" y="74"/>
                  </a:lnTo>
                  <a:lnTo>
                    <a:pt x="51" y="76"/>
                  </a:lnTo>
                  <a:lnTo>
                    <a:pt x="57" y="76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67" y="74"/>
                  </a:lnTo>
                  <a:lnTo>
                    <a:pt x="68" y="75"/>
                  </a:lnTo>
                  <a:lnTo>
                    <a:pt x="71" y="76"/>
                  </a:lnTo>
                  <a:lnTo>
                    <a:pt x="73" y="79"/>
                  </a:lnTo>
                  <a:lnTo>
                    <a:pt x="75" y="79"/>
                  </a:lnTo>
                  <a:lnTo>
                    <a:pt x="78" y="79"/>
                  </a:lnTo>
                  <a:lnTo>
                    <a:pt x="78" y="79"/>
                  </a:lnTo>
                  <a:close/>
                  <a:moveTo>
                    <a:pt x="48" y="83"/>
                  </a:moveTo>
                  <a:lnTo>
                    <a:pt x="48" y="83"/>
                  </a:lnTo>
                  <a:lnTo>
                    <a:pt x="50" y="89"/>
                  </a:lnTo>
                  <a:lnTo>
                    <a:pt x="53" y="96"/>
                  </a:lnTo>
                  <a:lnTo>
                    <a:pt x="54" y="98"/>
                  </a:lnTo>
                  <a:lnTo>
                    <a:pt x="57" y="100"/>
                  </a:lnTo>
                  <a:lnTo>
                    <a:pt x="60" y="101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5" y="98"/>
                  </a:lnTo>
                  <a:lnTo>
                    <a:pt x="65" y="96"/>
                  </a:lnTo>
                  <a:lnTo>
                    <a:pt x="62" y="93"/>
                  </a:lnTo>
                  <a:lnTo>
                    <a:pt x="60" y="89"/>
                  </a:lnTo>
                  <a:lnTo>
                    <a:pt x="51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close/>
                  <a:moveTo>
                    <a:pt x="75" y="129"/>
                  </a:moveTo>
                  <a:lnTo>
                    <a:pt x="75" y="129"/>
                  </a:lnTo>
                  <a:lnTo>
                    <a:pt x="79" y="128"/>
                  </a:lnTo>
                  <a:lnTo>
                    <a:pt x="82" y="126"/>
                  </a:lnTo>
                  <a:lnTo>
                    <a:pt x="83" y="123"/>
                  </a:lnTo>
                  <a:lnTo>
                    <a:pt x="83" y="123"/>
                  </a:lnTo>
                  <a:lnTo>
                    <a:pt x="83" y="123"/>
                  </a:lnTo>
                  <a:lnTo>
                    <a:pt x="83" y="123"/>
                  </a:lnTo>
                  <a:lnTo>
                    <a:pt x="85" y="126"/>
                  </a:lnTo>
                  <a:lnTo>
                    <a:pt x="86" y="132"/>
                  </a:lnTo>
                  <a:lnTo>
                    <a:pt x="85" y="135"/>
                  </a:lnTo>
                  <a:lnTo>
                    <a:pt x="85" y="136"/>
                  </a:lnTo>
                  <a:lnTo>
                    <a:pt x="85" y="136"/>
                  </a:lnTo>
                  <a:lnTo>
                    <a:pt x="82" y="140"/>
                  </a:lnTo>
                  <a:lnTo>
                    <a:pt x="82" y="146"/>
                  </a:lnTo>
                  <a:lnTo>
                    <a:pt x="83" y="151"/>
                  </a:lnTo>
                  <a:lnTo>
                    <a:pt x="85" y="153"/>
                  </a:lnTo>
                  <a:lnTo>
                    <a:pt x="86" y="154"/>
                  </a:lnTo>
                  <a:lnTo>
                    <a:pt x="86" y="154"/>
                  </a:lnTo>
                  <a:lnTo>
                    <a:pt x="89" y="153"/>
                  </a:lnTo>
                  <a:lnTo>
                    <a:pt x="91" y="151"/>
                  </a:lnTo>
                  <a:lnTo>
                    <a:pt x="97" y="143"/>
                  </a:lnTo>
                  <a:lnTo>
                    <a:pt x="103" y="135"/>
                  </a:lnTo>
                  <a:lnTo>
                    <a:pt x="103" y="130"/>
                  </a:lnTo>
                  <a:lnTo>
                    <a:pt x="103" y="129"/>
                  </a:lnTo>
                  <a:lnTo>
                    <a:pt x="103" y="129"/>
                  </a:lnTo>
                  <a:lnTo>
                    <a:pt x="103" y="128"/>
                  </a:lnTo>
                  <a:lnTo>
                    <a:pt x="101" y="128"/>
                  </a:lnTo>
                  <a:lnTo>
                    <a:pt x="98" y="128"/>
                  </a:lnTo>
                  <a:lnTo>
                    <a:pt x="97" y="128"/>
                  </a:lnTo>
                  <a:lnTo>
                    <a:pt x="97" y="126"/>
                  </a:lnTo>
                  <a:lnTo>
                    <a:pt x="97" y="126"/>
                  </a:lnTo>
                  <a:lnTo>
                    <a:pt x="97" y="123"/>
                  </a:lnTo>
                  <a:lnTo>
                    <a:pt x="94" y="121"/>
                  </a:lnTo>
                  <a:lnTo>
                    <a:pt x="89" y="114"/>
                  </a:lnTo>
                  <a:lnTo>
                    <a:pt x="80" y="108"/>
                  </a:lnTo>
                  <a:lnTo>
                    <a:pt x="76" y="107"/>
                  </a:lnTo>
                  <a:lnTo>
                    <a:pt x="73" y="107"/>
                  </a:lnTo>
                  <a:lnTo>
                    <a:pt x="73" y="107"/>
                  </a:lnTo>
                  <a:lnTo>
                    <a:pt x="71" y="108"/>
                  </a:lnTo>
                  <a:lnTo>
                    <a:pt x="69" y="111"/>
                  </a:lnTo>
                  <a:lnTo>
                    <a:pt x="69" y="119"/>
                  </a:lnTo>
                  <a:lnTo>
                    <a:pt x="71" y="126"/>
                  </a:lnTo>
                  <a:lnTo>
                    <a:pt x="72" y="128"/>
                  </a:lnTo>
                  <a:lnTo>
                    <a:pt x="75" y="129"/>
                  </a:lnTo>
                  <a:lnTo>
                    <a:pt x="75" y="129"/>
                  </a:lnTo>
                  <a:close/>
                  <a:moveTo>
                    <a:pt x="19" y="137"/>
                  </a:moveTo>
                  <a:lnTo>
                    <a:pt x="19" y="137"/>
                  </a:lnTo>
                  <a:lnTo>
                    <a:pt x="7" y="151"/>
                  </a:lnTo>
                  <a:lnTo>
                    <a:pt x="1" y="158"/>
                  </a:lnTo>
                  <a:lnTo>
                    <a:pt x="0" y="161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1" y="164"/>
                  </a:lnTo>
                  <a:lnTo>
                    <a:pt x="4" y="162"/>
                  </a:lnTo>
                  <a:lnTo>
                    <a:pt x="12" y="154"/>
                  </a:lnTo>
                  <a:lnTo>
                    <a:pt x="21" y="144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32" y="132"/>
                  </a:lnTo>
                  <a:lnTo>
                    <a:pt x="35" y="128"/>
                  </a:lnTo>
                  <a:lnTo>
                    <a:pt x="33" y="125"/>
                  </a:lnTo>
                  <a:lnTo>
                    <a:pt x="32" y="121"/>
                  </a:lnTo>
                  <a:lnTo>
                    <a:pt x="32" y="121"/>
                  </a:lnTo>
                  <a:lnTo>
                    <a:pt x="30" y="119"/>
                  </a:lnTo>
                  <a:lnTo>
                    <a:pt x="30" y="119"/>
                  </a:lnTo>
                  <a:lnTo>
                    <a:pt x="28" y="123"/>
                  </a:lnTo>
                  <a:lnTo>
                    <a:pt x="23" y="130"/>
                  </a:lnTo>
                  <a:lnTo>
                    <a:pt x="19" y="137"/>
                  </a:lnTo>
                  <a:lnTo>
                    <a:pt x="19" y="137"/>
                  </a:lnTo>
                  <a:close/>
                  <a:moveTo>
                    <a:pt x="103" y="147"/>
                  </a:moveTo>
                  <a:lnTo>
                    <a:pt x="103" y="147"/>
                  </a:lnTo>
                  <a:lnTo>
                    <a:pt x="103" y="147"/>
                  </a:lnTo>
                  <a:lnTo>
                    <a:pt x="105" y="148"/>
                  </a:lnTo>
                  <a:lnTo>
                    <a:pt x="110" y="146"/>
                  </a:lnTo>
                  <a:lnTo>
                    <a:pt x="114" y="143"/>
                  </a:lnTo>
                  <a:lnTo>
                    <a:pt x="114" y="142"/>
                  </a:lnTo>
                  <a:lnTo>
                    <a:pt x="114" y="139"/>
                  </a:lnTo>
                  <a:lnTo>
                    <a:pt x="114" y="139"/>
                  </a:lnTo>
                  <a:lnTo>
                    <a:pt x="112" y="137"/>
                  </a:lnTo>
                  <a:lnTo>
                    <a:pt x="110" y="137"/>
                  </a:lnTo>
                  <a:lnTo>
                    <a:pt x="105" y="140"/>
                  </a:lnTo>
                  <a:lnTo>
                    <a:pt x="103" y="143"/>
                  </a:lnTo>
                  <a:lnTo>
                    <a:pt x="103" y="147"/>
                  </a:lnTo>
                  <a:lnTo>
                    <a:pt x="103" y="147"/>
                  </a:lnTo>
                  <a:close/>
                  <a:moveTo>
                    <a:pt x="144" y="183"/>
                  </a:moveTo>
                  <a:lnTo>
                    <a:pt x="144" y="183"/>
                  </a:lnTo>
                  <a:lnTo>
                    <a:pt x="146" y="179"/>
                  </a:lnTo>
                  <a:lnTo>
                    <a:pt x="146" y="176"/>
                  </a:lnTo>
                  <a:lnTo>
                    <a:pt x="144" y="167"/>
                  </a:lnTo>
                  <a:lnTo>
                    <a:pt x="141" y="157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39" y="144"/>
                  </a:lnTo>
                  <a:lnTo>
                    <a:pt x="137" y="142"/>
                  </a:lnTo>
                  <a:lnTo>
                    <a:pt x="136" y="142"/>
                  </a:lnTo>
                  <a:lnTo>
                    <a:pt x="133" y="140"/>
                  </a:lnTo>
                  <a:lnTo>
                    <a:pt x="130" y="142"/>
                  </a:lnTo>
                  <a:lnTo>
                    <a:pt x="129" y="143"/>
                  </a:lnTo>
                  <a:lnTo>
                    <a:pt x="128" y="144"/>
                  </a:lnTo>
                  <a:lnTo>
                    <a:pt x="129" y="147"/>
                  </a:lnTo>
                  <a:lnTo>
                    <a:pt x="129" y="147"/>
                  </a:lnTo>
                  <a:lnTo>
                    <a:pt x="129" y="148"/>
                  </a:lnTo>
                  <a:lnTo>
                    <a:pt x="129" y="150"/>
                  </a:lnTo>
                  <a:lnTo>
                    <a:pt x="126" y="151"/>
                  </a:lnTo>
                  <a:lnTo>
                    <a:pt x="122" y="153"/>
                  </a:lnTo>
                  <a:lnTo>
                    <a:pt x="121" y="153"/>
                  </a:lnTo>
                  <a:lnTo>
                    <a:pt x="121" y="155"/>
                  </a:lnTo>
                  <a:lnTo>
                    <a:pt x="121" y="155"/>
                  </a:lnTo>
                  <a:lnTo>
                    <a:pt x="119" y="157"/>
                  </a:lnTo>
                  <a:lnTo>
                    <a:pt x="118" y="158"/>
                  </a:lnTo>
                  <a:lnTo>
                    <a:pt x="115" y="160"/>
                  </a:lnTo>
                  <a:lnTo>
                    <a:pt x="112" y="160"/>
                  </a:lnTo>
                  <a:lnTo>
                    <a:pt x="111" y="161"/>
                  </a:lnTo>
                  <a:lnTo>
                    <a:pt x="111" y="162"/>
                  </a:lnTo>
                  <a:lnTo>
                    <a:pt x="111" y="162"/>
                  </a:lnTo>
                  <a:lnTo>
                    <a:pt x="111" y="164"/>
                  </a:lnTo>
                  <a:lnTo>
                    <a:pt x="110" y="165"/>
                  </a:lnTo>
                  <a:lnTo>
                    <a:pt x="105" y="164"/>
                  </a:lnTo>
                  <a:lnTo>
                    <a:pt x="97" y="160"/>
                  </a:lnTo>
                  <a:lnTo>
                    <a:pt x="97" y="160"/>
                  </a:lnTo>
                  <a:lnTo>
                    <a:pt x="96" y="158"/>
                  </a:lnTo>
                  <a:lnTo>
                    <a:pt x="93" y="160"/>
                  </a:lnTo>
                  <a:lnTo>
                    <a:pt x="89" y="162"/>
                  </a:lnTo>
                  <a:lnTo>
                    <a:pt x="85" y="167"/>
                  </a:lnTo>
                  <a:lnTo>
                    <a:pt x="79" y="169"/>
                  </a:lnTo>
                  <a:lnTo>
                    <a:pt x="79" y="169"/>
                  </a:lnTo>
                  <a:lnTo>
                    <a:pt x="76" y="171"/>
                  </a:lnTo>
                  <a:lnTo>
                    <a:pt x="75" y="173"/>
                  </a:lnTo>
                  <a:lnTo>
                    <a:pt x="72" y="179"/>
                  </a:lnTo>
                  <a:lnTo>
                    <a:pt x="71" y="183"/>
                  </a:lnTo>
                  <a:lnTo>
                    <a:pt x="72" y="186"/>
                  </a:lnTo>
                  <a:lnTo>
                    <a:pt x="73" y="186"/>
                  </a:lnTo>
                  <a:lnTo>
                    <a:pt x="73" y="186"/>
                  </a:lnTo>
                  <a:lnTo>
                    <a:pt x="76" y="185"/>
                  </a:lnTo>
                  <a:lnTo>
                    <a:pt x="80" y="182"/>
                  </a:lnTo>
                  <a:lnTo>
                    <a:pt x="83" y="179"/>
                  </a:lnTo>
                  <a:lnTo>
                    <a:pt x="87" y="179"/>
                  </a:lnTo>
                  <a:lnTo>
                    <a:pt x="87" y="179"/>
                  </a:lnTo>
                  <a:lnTo>
                    <a:pt x="90" y="178"/>
                  </a:lnTo>
                  <a:lnTo>
                    <a:pt x="91" y="176"/>
                  </a:lnTo>
                  <a:lnTo>
                    <a:pt x="94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01" y="176"/>
                  </a:lnTo>
                  <a:lnTo>
                    <a:pt x="103" y="179"/>
                  </a:lnTo>
                  <a:lnTo>
                    <a:pt x="104" y="187"/>
                  </a:lnTo>
                  <a:lnTo>
                    <a:pt x="105" y="196"/>
                  </a:lnTo>
                  <a:lnTo>
                    <a:pt x="108" y="200"/>
                  </a:lnTo>
                  <a:lnTo>
                    <a:pt x="111" y="201"/>
                  </a:lnTo>
                  <a:lnTo>
                    <a:pt x="111" y="201"/>
                  </a:lnTo>
                  <a:lnTo>
                    <a:pt x="118" y="203"/>
                  </a:lnTo>
                  <a:lnTo>
                    <a:pt x="122" y="205"/>
                  </a:lnTo>
                  <a:lnTo>
                    <a:pt x="125" y="208"/>
                  </a:lnTo>
                  <a:lnTo>
                    <a:pt x="128" y="210"/>
                  </a:lnTo>
                  <a:lnTo>
                    <a:pt x="128" y="210"/>
                  </a:lnTo>
                  <a:lnTo>
                    <a:pt x="129" y="208"/>
                  </a:lnTo>
                  <a:lnTo>
                    <a:pt x="129" y="207"/>
                  </a:lnTo>
                  <a:lnTo>
                    <a:pt x="129" y="201"/>
                  </a:lnTo>
                  <a:lnTo>
                    <a:pt x="128" y="194"/>
                  </a:lnTo>
                  <a:lnTo>
                    <a:pt x="128" y="190"/>
                  </a:lnTo>
                  <a:lnTo>
                    <a:pt x="128" y="190"/>
                  </a:lnTo>
                  <a:lnTo>
                    <a:pt x="128" y="187"/>
                  </a:lnTo>
                  <a:lnTo>
                    <a:pt x="129" y="187"/>
                  </a:lnTo>
                  <a:lnTo>
                    <a:pt x="133" y="186"/>
                  </a:lnTo>
                  <a:lnTo>
                    <a:pt x="139" y="186"/>
                  </a:lnTo>
                  <a:lnTo>
                    <a:pt x="141" y="185"/>
                  </a:lnTo>
                  <a:lnTo>
                    <a:pt x="144" y="183"/>
                  </a:lnTo>
                  <a:lnTo>
                    <a:pt x="144" y="18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41" name="Freeform 148"/>
            <p:cNvSpPr>
              <a:spLocks noEditPoints="1"/>
            </p:cNvSpPr>
            <p:nvPr/>
          </p:nvSpPr>
          <p:spPr bwMode="auto">
            <a:xfrm>
              <a:off x="8070851" y="4062413"/>
              <a:ext cx="307975" cy="200025"/>
            </a:xfrm>
            <a:custGeom>
              <a:avLst/>
              <a:gdLst>
                <a:gd name="T0" fmla="*/ 136 w 194"/>
                <a:gd name="T1" fmla="*/ 112 h 126"/>
                <a:gd name="T2" fmla="*/ 132 w 194"/>
                <a:gd name="T3" fmla="*/ 107 h 126"/>
                <a:gd name="T4" fmla="*/ 126 w 194"/>
                <a:gd name="T5" fmla="*/ 102 h 126"/>
                <a:gd name="T6" fmla="*/ 115 w 194"/>
                <a:gd name="T7" fmla="*/ 98 h 126"/>
                <a:gd name="T8" fmla="*/ 110 w 194"/>
                <a:gd name="T9" fmla="*/ 87 h 126"/>
                <a:gd name="T10" fmla="*/ 104 w 194"/>
                <a:gd name="T11" fmla="*/ 77 h 126"/>
                <a:gd name="T12" fmla="*/ 97 w 194"/>
                <a:gd name="T13" fmla="*/ 70 h 126"/>
                <a:gd name="T14" fmla="*/ 99 w 194"/>
                <a:gd name="T15" fmla="*/ 65 h 126"/>
                <a:gd name="T16" fmla="*/ 105 w 194"/>
                <a:gd name="T17" fmla="*/ 63 h 126"/>
                <a:gd name="T18" fmla="*/ 104 w 194"/>
                <a:gd name="T19" fmla="*/ 55 h 126"/>
                <a:gd name="T20" fmla="*/ 97 w 194"/>
                <a:gd name="T21" fmla="*/ 51 h 126"/>
                <a:gd name="T22" fmla="*/ 75 w 194"/>
                <a:gd name="T23" fmla="*/ 40 h 126"/>
                <a:gd name="T24" fmla="*/ 71 w 194"/>
                <a:gd name="T25" fmla="*/ 33 h 126"/>
                <a:gd name="T26" fmla="*/ 29 w 194"/>
                <a:gd name="T27" fmla="*/ 9 h 126"/>
                <a:gd name="T28" fmla="*/ 0 w 194"/>
                <a:gd name="T29" fmla="*/ 0 h 126"/>
                <a:gd name="T30" fmla="*/ 7 w 194"/>
                <a:gd name="T31" fmla="*/ 102 h 126"/>
                <a:gd name="T32" fmla="*/ 24 w 194"/>
                <a:gd name="T33" fmla="*/ 104 h 126"/>
                <a:gd name="T34" fmla="*/ 32 w 194"/>
                <a:gd name="T35" fmla="*/ 100 h 126"/>
                <a:gd name="T36" fmla="*/ 36 w 194"/>
                <a:gd name="T37" fmla="*/ 94 h 126"/>
                <a:gd name="T38" fmla="*/ 40 w 194"/>
                <a:gd name="T39" fmla="*/ 90 h 126"/>
                <a:gd name="T40" fmla="*/ 47 w 194"/>
                <a:gd name="T41" fmla="*/ 80 h 126"/>
                <a:gd name="T42" fmla="*/ 68 w 194"/>
                <a:gd name="T43" fmla="*/ 84 h 126"/>
                <a:gd name="T44" fmla="*/ 86 w 194"/>
                <a:gd name="T45" fmla="*/ 98 h 126"/>
                <a:gd name="T46" fmla="*/ 108 w 194"/>
                <a:gd name="T47" fmla="*/ 120 h 126"/>
                <a:gd name="T48" fmla="*/ 117 w 194"/>
                <a:gd name="T49" fmla="*/ 120 h 126"/>
                <a:gd name="T50" fmla="*/ 137 w 194"/>
                <a:gd name="T51" fmla="*/ 125 h 126"/>
                <a:gd name="T52" fmla="*/ 147 w 194"/>
                <a:gd name="T53" fmla="*/ 126 h 126"/>
                <a:gd name="T54" fmla="*/ 148 w 194"/>
                <a:gd name="T55" fmla="*/ 122 h 126"/>
                <a:gd name="T56" fmla="*/ 143 w 194"/>
                <a:gd name="T57" fmla="*/ 116 h 126"/>
                <a:gd name="T58" fmla="*/ 168 w 194"/>
                <a:gd name="T59" fmla="*/ 37 h 126"/>
                <a:gd name="T60" fmla="*/ 150 w 194"/>
                <a:gd name="T61" fmla="*/ 45 h 126"/>
                <a:gd name="T62" fmla="*/ 129 w 194"/>
                <a:gd name="T63" fmla="*/ 45 h 126"/>
                <a:gd name="T64" fmla="*/ 117 w 194"/>
                <a:gd name="T65" fmla="*/ 47 h 126"/>
                <a:gd name="T66" fmla="*/ 118 w 194"/>
                <a:gd name="T67" fmla="*/ 50 h 126"/>
                <a:gd name="T68" fmla="*/ 142 w 194"/>
                <a:gd name="T69" fmla="*/ 58 h 126"/>
                <a:gd name="T70" fmla="*/ 153 w 194"/>
                <a:gd name="T71" fmla="*/ 57 h 126"/>
                <a:gd name="T72" fmla="*/ 173 w 194"/>
                <a:gd name="T73" fmla="*/ 44 h 126"/>
                <a:gd name="T74" fmla="*/ 175 w 194"/>
                <a:gd name="T75" fmla="*/ 39 h 126"/>
                <a:gd name="T76" fmla="*/ 179 w 194"/>
                <a:gd name="T77" fmla="*/ 30 h 126"/>
                <a:gd name="T78" fmla="*/ 176 w 194"/>
                <a:gd name="T79" fmla="*/ 27 h 126"/>
                <a:gd name="T80" fmla="*/ 169 w 194"/>
                <a:gd name="T81" fmla="*/ 34 h 126"/>
                <a:gd name="T82" fmla="*/ 185 w 194"/>
                <a:gd name="T83" fmla="*/ 16 h 126"/>
                <a:gd name="T84" fmla="*/ 176 w 194"/>
                <a:gd name="T85" fmla="*/ 14 h 126"/>
                <a:gd name="T86" fmla="*/ 185 w 194"/>
                <a:gd name="T87" fmla="*/ 23 h 126"/>
                <a:gd name="T88" fmla="*/ 187 w 194"/>
                <a:gd name="T89" fmla="*/ 33 h 126"/>
                <a:gd name="T90" fmla="*/ 192 w 194"/>
                <a:gd name="T91" fmla="*/ 32 h 126"/>
                <a:gd name="T92" fmla="*/ 193 w 194"/>
                <a:gd name="T93" fmla="*/ 26 h 126"/>
                <a:gd name="T94" fmla="*/ 185 w 194"/>
                <a:gd name="T95" fmla="*/ 1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4" h="126">
                  <a:moveTo>
                    <a:pt x="143" y="116"/>
                  </a:moveTo>
                  <a:lnTo>
                    <a:pt x="143" y="116"/>
                  </a:lnTo>
                  <a:lnTo>
                    <a:pt x="136" y="112"/>
                  </a:lnTo>
                  <a:lnTo>
                    <a:pt x="132" y="109"/>
                  </a:lnTo>
                  <a:lnTo>
                    <a:pt x="132" y="107"/>
                  </a:lnTo>
                  <a:lnTo>
                    <a:pt x="132" y="107"/>
                  </a:lnTo>
                  <a:lnTo>
                    <a:pt x="130" y="105"/>
                  </a:lnTo>
                  <a:lnTo>
                    <a:pt x="130" y="104"/>
                  </a:lnTo>
                  <a:lnTo>
                    <a:pt x="126" y="102"/>
                  </a:lnTo>
                  <a:lnTo>
                    <a:pt x="121" y="101"/>
                  </a:lnTo>
                  <a:lnTo>
                    <a:pt x="115" y="98"/>
                  </a:lnTo>
                  <a:lnTo>
                    <a:pt x="115" y="98"/>
                  </a:lnTo>
                  <a:lnTo>
                    <a:pt x="114" y="97"/>
                  </a:lnTo>
                  <a:lnTo>
                    <a:pt x="112" y="94"/>
                  </a:lnTo>
                  <a:lnTo>
                    <a:pt x="110" y="87"/>
                  </a:lnTo>
                  <a:lnTo>
                    <a:pt x="108" y="82"/>
                  </a:lnTo>
                  <a:lnTo>
                    <a:pt x="107" y="79"/>
                  </a:lnTo>
                  <a:lnTo>
                    <a:pt x="104" y="77"/>
                  </a:lnTo>
                  <a:lnTo>
                    <a:pt x="104" y="77"/>
                  </a:lnTo>
                  <a:lnTo>
                    <a:pt x="100" y="75"/>
                  </a:lnTo>
                  <a:lnTo>
                    <a:pt x="97" y="70"/>
                  </a:lnTo>
                  <a:lnTo>
                    <a:pt x="96" y="68"/>
                  </a:lnTo>
                  <a:lnTo>
                    <a:pt x="97" y="66"/>
                  </a:lnTo>
                  <a:lnTo>
                    <a:pt x="99" y="65"/>
                  </a:lnTo>
                  <a:lnTo>
                    <a:pt x="101" y="65"/>
                  </a:lnTo>
                  <a:lnTo>
                    <a:pt x="101" y="65"/>
                  </a:lnTo>
                  <a:lnTo>
                    <a:pt x="105" y="63"/>
                  </a:lnTo>
                  <a:lnTo>
                    <a:pt x="108" y="62"/>
                  </a:lnTo>
                  <a:lnTo>
                    <a:pt x="107" y="59"/>
                  </a:lnTo>
                  <a:lnTo>
                    <a:pt x="104" y="55"/>
                  </a:lnTo>
                  <a:lnTo>
                    <a:pt x="104" y="55"/>
                  </a:lnTo>
                  <a:lnTo>
                    <a:pt x="101" y="52"/>
                  </a:lnTo>
                  <a:lnTo>
                    <a:pt x="97" y="51"/>
                  </a:lnTo>
                  <a:lnTo>
                    <a:pt x="86" y="47"/>
                  </a:lnTo>
                  <a:lnTo>
                    <a:pt x="78" y="43"/>
                  </a:lnTo>
                  <a:lnTo>
                    <a:pt x="75" y="40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1" y="33"/>
                  </a:lnTo>
                  <a:lnTo>
                    <a:pt x="65" y="29"/>
                  </a:lnTo>
                  <a:lnTo>
                    <a:pt x="49" y="19"/>
                  </a:lnTo>
                  <a:lnTo>
                    <a:pt x="29" y="9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0" y="0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7" y="102"/>
                  </a:lnTo>
                  <a:lnTo>
                    <a:pt x="17" y="105"/>
                  </a:lnTo>
                  <a:lnTo>
                    <a:pt x="17" y="105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30" y="101"/>
                  </a:lnTo>
                  <a:lnTo>
                    <a:pt x="32" y="100"/>
                  </a:lnTo>
                  <a:lnTo>
                    <a:pt x="33" y="95"/>
                  </a:lnTo>
                  <a:lnTo>
                    <a:pt x="35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7" y="93"/>
                  </a:lnTo>
                  <a:lnTo>
                    <a:pt x="40" y="90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7" y="80"/>
                  </a:lnTo>
                  <a:lnTo>
                    <a:pt x="50" y="80"/>
                  </a:lnTo>
                  <a:lnTo>
                    <a:pt x="58" y="82"/>
                  </a:lnTo>
                  <a:lnTo>
                    <a:pt x="68" y="84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86" y="98"/>
                  </a:lnTo>
                  <a:lnTo>
                    <a:pt x="94" y="109"/>
                  </a:lnTo>
                  <a:lnTo>
                    <a:pt x="103" y="118"/>
                  </a:lnTo>
                  <a:lnTo>
                    <a:pt x="108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7" y="120"/>
                  </a:lnTo>
                  <a:lnTo>
                    <a:pt x="121" y="120"/>
                  </a:lnTo>
                  <a:lnTo>
                    <a:pt x="129" y="123"/>
                  </a:lnTo>
                  <a:lnTo>
                    <a:pt x="137" y="125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7" y="126"/>
                  </a:lnTo>
                  <a:lnTo>
                    <a:pt x="148" y="125"/>
                  </a:lnTo>
                  <a:lnTo>
                    <a:pt x="150" y="123"/>
                  </a:lnTo>
                  <a:lnTo>
                    <a:pt x="148" y="122"/>
                  </a:lnTo>
                  <a:lnTo>
                    <a:pt x="146" y="119"/>
                  </a:lnTo>
                  <a:lnTo>
                    <a:pt x="143" y="116"/>
                  </a:lnTo>
                  <a:lnTo>
                    <a:pt x="143" y="116"/>
                  </a:lnTo>
                  <a:close/>
                  <a:moveTo>
                    <a:pt x="169" y="34"/>
                  </a:moveTo>
                  <a:lnTo>
                    <a:pt x="169" y="34"/>
                  </a:lnTo>
                  <a:lnTo>
                    <a:pt x="168" y="37"/>
                  </a:lnTo>
                  <a:lnTo>
                    <a:pt x="164" y="40"/>
                  </a:lnTo>
                  <a:lnTo>
                    <a:pt x="150" y="45"/>
                  </a:lnTo>
                  <a:lnTo>
                    <a:pt x="150" y="45"/>
                  </a:lnTo>
                  <a:lnTo>
                    <a:pt x="144" y="47"/>
                  </a:lnTo>
                  <a:lnTo>
                    <a:pt x="140" y="47"/>
                  </a:lnTo>
                  <a:lnTo>
                    <a:pt x="129" y="45"/>
                  </a:lnTo>
                  <a:lnTo>
                    <a:pt x="121" y="44"/>
                  </a:lnTo>
                  <a:lnTo>
                    <a:pt x="118" y="45"/>
                  </a:lnTo>
                  <a:lnTo>
                    <a:pt x="117" y="47"/>
                  </a:lnTo>
                  <a:lnTo>
                    <a:pt x="117" y="47"/>
                  </a:lnTo>
                  <a:lnTo>
                    <a:pt x="117" y="48"/>
                  </a:lnTo>
                  <a:lnTo>
                    <a:pt x="118" y="50"/>
                  </a:lnTo>
                  <a:lnTo>
                    <a:pt x="125" y="54"/>
                  </a:lnTo>
                  <a:lnTo>
                    <a:pt x="133" y="57"/>
                  </a:lnTo>
                  <a:lnTo>
                    <a:pt x="142" y="58"/>
                  </a:lnTo>
                  <a:lnTo>
                    <a:pt x="142" y="58"/>
                  </a:lnTo>
                  <a:lnTo>
                    <a:pt x="147" y="58"/>
                  </a:lnTo>
                  <a:lnTo>
                    <a:pt x="153" y="57"/>
                  </a:lnTo>
                  <a:lnTo>
                    <a:pt x="162" y="51"/>
                  </a:lnTo>
                  <a:lnTo>
                    <a:pt x="171" y="45"/>
                  </a:lnTo>
                  <a:lnTo>
                    <a:pt x="173" y="44"/>
                  </a:lnTo>
                  <a:lnTo>
                    <a:pt x="175" y="43"/>
                  </a:lnTo>
                  <a:lnTo>
                    <a:pt x="175" y="43"/>
                  </a:lnTo>
                  <a:lnTo>
                    <a:pt x="175" y="39"/>
                  </a:lnTo>
                  <a:lnTo>
                    <a:pt x="178" y="36"/>
                  </a:lnTo>
                  <a:lnTo>
                    <a:pt x="179" y="32"/>
                  </a:lnTo>
                  <a:lnTo>
                    <a:pt x="179" y="30"/>
                  </a:lnTo>
                  <a:lnTo>
                    <a:pt x="179" y="29"/>
                  </a:lnTo>
                  <a:lnTo>
                    <a:pt x="179" y="29"/>
                  </a:lnTo>
                  <a:lnTo>
                    <a:pt x="176" y="27"/>
                  </a:lnTo>
                  <a:lnTo>
                    <a:pt x="172" y="29"/>
                  </a:lnTo>
                  <a:lnTo>
                    <a:pt x="169" y="32"/>
                  </a:lnTo>
                  <a:lnTo>
                    <a:pt x="169" y="34"/>
                  </a:lnTo>
                  <a:lnTo>
                    <a:pt x="169" y="34"/>
                  </a:lnTo>
                  <a:close/>
                  <a:moveTo>
                    <a:pt x="185" y="16"/>
                  </a:moveTo>
                  <a:lnTo>
                    <a:pt x="185" y="16"/>
                  </a:lnTo>
                  <a:lnTo>
                    <a:pt x="176" y="12"/>
                  </a:lnTo>
                  <a:lnTo>
                    <a:pt x="175" y="12"/>
                  </a:lnTo>
                  <a:lnTo>
                    <a:pt x="176" y="14"/>
                  </a:lnTo>
                  <a:lnTo>
                    <a:pt x="180" y="18"/>
                  </a:lnTo>
                  <a:lnTo>
                    <a:pt x="180" y="18"/>
                  </a:lnTo>
                  <a:lnTo>
                    <a:pt x="185" y="23"/>
                  </a:lnTo>
                  <a:lnTo>
                    <a:pt x="186" y="29"/>
                  </a:lnTo>
                  <a:lnTo>
                    <a:pt x="187" y="32"/>
                  </a:lnTo>
                  <a:lnTo>
                    <a:pt x="187" y="33"/>
                  </a:lnTo>
                  <a:lnTo>
                    <a:pt x="190" y="33"/>
                  </a:lnTo>
                  <a:lnTo>
                    <a:pt x="190" y="33"/>
                  </a:lnTo>
                  <a:lnTo>
                    <a:pt x="192" y="32"/>
                  </a:lnTo>
                  <a:lnTo>
                    <a:pt x="193" y="30"/>
                  </a:lnTo>
                  <a:lnTo>
                    <a:pt x="194" y="27"/>
                  </a:lnTo>
                  <a:lnTo>
                    <a:pt x="193" y="26"/>
                  </a:lnTo>
                  <a:lnTo>
                    <a:pt x="190" y="20"/>
                  </a:lnTo>
                  <a:lnTo>
                    <a:pt x="185" y="16"/>
                  </a:lnTo>
                  <a:lnTo>
                    <a:pt x="185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42" name="Freeform 149"/>
            <p:cNvSpPr>
              <a:spLocks/>
            </p:cNvSpPr>
            <p:nvPr/>
          </p:nvSpPr>
          <p:spPr bwMode="auto">
            <a:xfrm>
              <a:off x="6569076" y="3751263"/>
              <a:ext cx="53975" cy="95250"/>
            </a:xfrm>
            <a:custGeom>
              <a:avLst/>
              <a:gdLst>
                <a:gd name="T0" fmla="*/ 9 w 34"/>
                <a:gd name="T1" fmla="*/ 0 h 60"/>
                <a:gd name="T2" fmla="*/ 9 w 34"/>
                <a:gd name="T3" fmla="*/ 0 h 60"/>
                <a:gd name="T4" fmla="*/ 6 w 34"/>
                <a:gd name="T5" fmla="*/ 1 h 60"/>
                <a:gd name="T6" fmla="*/ 5 w 34"/>
                <a:gd name="T7" fmla="*/ 4 h 60"/>
                <a:gd name="T8" fmla="*/ 3 w 34"/>
                <a:gd name="T9" fmla="*/ 14 h 60"/>
                <a:gd name="T10" fmla="*/ 3 w 34"/>
                <a:gd name="T11" fmla="*/ 14 h 60"/>
                <a:gd name="T12" fmla="*/ 2 w 34"/>
                <a:gd name="T13" fmla="*/ 18 h 60"/>
                <a:gd name="T14" fmla="*/ 0 w 34"/>
                <a:gd name="T15" fmla="*/ 24 h 60"/>
                <a:gd name="T16" fmla="*/ 2 w 34"/>
                <a:gd name="T17" fmla="*/ 35 h 60"/>
                <a:gd name="T18" fmla="*/ 2 w 34"/>
                <a:gd name="T19" fmla="*/ 35 h 60"/>
                <a:gd name="T20" fmla="*/ 3 w 34"/>
                <a:gd name="T21" fmla="*/ 48 h 60"/>
                <a:gd name="T22" fmla="*/ 5 w 34"/>
                <a:gd name="T23" fmla="*/ 54 h 60"/>
                <a:gd name="T24" fmla="*/ 10 w 34"/>
                <a:gd name="T25" fmla="*/ 58 h 60"/>
                <a:gd name="T26" fmla="*/ 10 w 34"/>
                <a:gd name="T27" fmla="*/ 58 h 60"/>
                <a:gd name="T28" fmla="*/ 13 w 34"/>
                <a:gd name="T29" fmla="*/ 60 h 60"/>
                <a:gd name="T30" fmla="*/ 17 w 34"/>
                <a:gd name="T31" fmla="*/ 58 h 60"/>
                <a:gd name="T32" fmla="*/ 21 w 34"/>
                <a:gd name="T33" fmla="*/ 57 h 60"/>
                <a:gd name="T34" fmla="*/ 25 w 34"/>
                <a:gd name="T35" fmla="*/ 54 h 60"/>
                <a:gd name="T36" fmla="*/ 28 w 34"/>
                <a:gd name="T37" fmla="*/ 50 h 60"/>
                <a:gd name="T38" fmla="*/ 31 w 34"/>
                <a:gd name="T39" fmla="*/ 46 h 60"/>
                <a:gd name="T40" fmla="*/ 32 w 34"/>
                <a:gd name="T41" fmla="*/ 40 h 60"/>
                <a:gd name="T42" fmla="*/ 34 w 34"/>
                <a:gd name="T43" fmla="*/ 36 h 60"/>
                <a:gd name="T44" fmla="*/ 34 w 34"/>
                <a:gd name="T45" fmla="*/ 36 h 60"/>
                <a:gd name="T46" fmla="*/ 32 w 34"/>
                <a:gd name="T47" fmla="*/ 30 h 60"/>
                <a:gd name="T48" fmla="*/ 31 w 34"/>
                <a:gd name="T49" fmla="*/ 25 h 60"/>
                <a:gd name="T50" fmla="*/ 23 w 34"/>
                <a:gd name="T51" fmla="*/ 12 h 60"/>
                <a:gd name="T52" fmla="*/ 14 w 34"/>
                <a:gd name="T53" fmla="*/ 3 h 60"/>
                <a:gd name="T54" fmla="*/ 10 w 34"/>
                <a:gd name="T55" fmla="*/ 0 h 60"/>
                <a:gd name="T56" fmla="*/ 9 w 34"/>
                <a:gd name="T57" fmla="*/ 0 h 60"/>
                <a:gd name="T58" fmla="*/ 9 w 34"/>
                <a:gd name="T5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" h="60">
                  <a:moveTo>
                    <a:pt x="9" y="0"/>
                  </a:moveTo>
                  <a:lnTo>
                    <a:pt x="9" y="0"/>
                  </a:lnTo>
                  <a:lnTo>
                    <a:pt x="6" y="1"/>
                  </a:lnTo>
                  <a:lnTo>
                    <a:pt x="5" y="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8"/>
                  </a:lnTo>
                  <a:lnTo>
                    <a:pt x="0" y="2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48"/>
                  </a:lnTo>
                  <a:lnTo>
                    <a:pt x="5" y="54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13" y="60"/>
                  </a:lnTo>
                  <a:lnTo>
                    <a:pt x="17" y="58"/>
                  </a:lnTo>
                  <a:lnTo>
                    <a:pt x="21" y="57"/>
                  </a:lnTo>
                  <a:lnTo>
                    <a:pt x="25" y="54"/>
                  </a:lnTo>
                  <a:lnTo>
                    <a:pt x="28" y="50"/>
                  </a:lnTo>
                  <a:lnTo>
                    <a:pt x="31" y="46"/>
                  </a:lnTo>
                  <a:lnTo>
                    <a:pt x="32" y="40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2" y="30"/>
                  </a:lnTo>
                  <a:lnTo>
                    <a:pt x="31" y="25"/>
                  </a:lnTo>
                  <a:lnTo>
                    <a:pt x="23" y="12"/>
                  </a:lnTo>
                  <a:lnTo>
                    <a:pt x="14" y="3"/>
                  </a:lnTo>
                  <a:lnTo>
                    <a:pt x="10" y="0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43" name="Freeform 153"/>
            <p:cNvSpPr>
              <a:spLocks noEditPoints="1"/>
            </p:cNvSpPr>
            <p:nvPr/>
          </p:nvSpPr>
          <p:spPr bwMode="auto">
            <a:xfrm>
              <a:off x="8415338" y="4133850"/>
              <a:ext cx="193675" cy="134938"/>
            </a:xfrm>
            <a:custGeom>
              <a:avLst/>
              <a:gdLst>
                <a:gd name="T0" fmla="*/ 0 w 122"/>
                <a:gd name="T1" fmla="*/ 0 h 85"/>
                <a:gd name="T2" fmla="*/ 6 w 122"/>
                <a:gd name="T3" fmla="*/ 14 h 85"/>
                <a:gd name="T4" fmla="*/ 16 w 122"/>
                <a:gd name="T5" fmla="*/ 23 h 85"/>
                <a:gd name="T6" fmla="*/ 19 w 122"/>
                <a:gd name="T7" fmla="*/ 23 h 85"/>
                <a:gd name="T8" fmla="*/ 22 w 122"/>
                <a:gd name="T9" fmla="*/ 20 h 85"/>
                <a:gd name="T10" fmla="*/ 18 w 122"/>
                <a:gd name="T11" fmla="*/ 12 h 85"/>
                <a:gd name="T12" fmla="*/ 5 w 122"/>
                <a:gd name="T13" fmla="*/ 2 h 85"/>
                <a:gd name="T14" fmla="*/ 0 w 122"/>
                <a:gd name="T15" fmla="*/ 0 h 85"/>
                <a:gd name="T16" fmla="*/ 30 w 122"/>
                <a:gd name="T17" fmla="*/ 20 h 85"/>
                <a:gd name="T18" fmla="*/ 31 w 122"/>
                <a:gd name="T19" fmla="*/ 23 h 85"/>
                <a:gd name="T20" fmla="*/ 40 w 122"/>
                <a:gd name="T21" fmla="*/ 30 h 85"/>
                <a:gd name="T22" fmla="*/ 43 w 122"/>
                <a:gd name="T23" fmla="*/ 31 h 85"/>
                <a:gd name="T24" fmla="*/ 43 w 122"/>
                <a:gd name="T25" fmla="*/ 30 h 85"/>
                <a:gd name="T26" fmla="*/ 37 w 122"/>
                <a:gd name="T27" fmla="*/ 23 h 85"/>
                <a:gd name="T28" fmla="*/ 30 w 122"/>
                <a:gd name="T29" fmla="*/ 20 h 85"/>
                <a:gd name="T30" fmla="*/ 30 w 122"/>
                <a:gd name="T31" fmla="*/ 20 h 85"/>
                <a:gd name="T32" fmla="*/ 81 w 122"/>
                <a:gd name="T33" fmla="*/ 48 h 85"/>
                <a:gd name="T34" fmla="*/ 80 w 122"/>
                <a:gd name="T35" fmla="*/ 43 h 85"/>
                <a:gd name="T36" fmla="*/ 63 w 122"/>
                <a:gd name="T37" fmla="*/ 35 h 85"/>
                <a:gd name="T38" fmla="*/ 59 w 122"/>
                <a:gd name="T39" fmla="*/ 35 h 85"/>
                <a:gd name="T40" fmla="*/ 61 w 122"/>
                <a:gd name="T41" fmla="*/ 38 h 85"/>
                <a:gd name="T42" fmla="*/ 69 w 122"/>
                <a:gd name="T43" fmla="*/ 43 h 85"/>
                <a:gd name="T44" fmla="*/ 80 w 122"/>
                <a:gd name="T45" fmla="*/ 48 h 85"/>
                <a:gd name="T46" fmla="*/ 81 w 122"/>
                <a:gd name="T47" fmla="*/ 48 h 85"/>
                <a:gd name="T48" fmla="*/ 79 w 122"/>
                <a:gd name="T49" fmla="*/ 63 h 85"/>
                <a:gd name="T50" fmla="*/ 86 w 122"/>
                <a:gd name="T51" fmla="*/ 70 h 85"/>
                <a:gd name="T52" fmla="*/ 95 w 122"/>
                <a:gd name="T53" fmla="*/ 71 h 85"/>
                <a:gd name="T54" fmla="*/ 95 w 122"/>
                <a:gd name="T55" fmla="*/ 70 h 85"/>
                <a:gd name="T56" fmla="*/ 88 w 122"/>
                <a:gd name="T57" fmla="*/ 63 h 85"/>
                <a:gd name="T58" fmla="*/ 79 w 122"/>
                <a:gd name="T59" fmla="*/ 60 h 85"/>
                <a:gd name="T60" fmla="*/ 79 w 122"/>
                <a:gd name="T61" fmla="*/ 63 h 85"/>
                <a:gd name="T62" fmla="*/ 108 w 122"/>
                <a:gd name="T63" fmla="*/ 78 h 85"/>
                <a:gd name="T64" fmla="*/ 113 w 122"/>
                <a:gd name="T65" fmla="*/ 82 h 85"/>
                <a:gd name="T66" fmla="*/ 119 w 122"/>
                <a:gd name="T67" fmla="*/ 85 h 85"/>
                <a:gd name="T68" fmla="*/ 122 w 122"/>
                <a:gd name="T69" fmla="*/ 85 h 85"/>
                <a:gd name="T70" fmla="*/ 120 w 122"/>
                <a:gd name="T71" fmla="*/ 82 h 85"/>
                <a:gd name="T72" fmla="*/ 109 w 122"/>
                <a:gd name="T73" fmla="*/ 77 h 85"/>
                <a:gd name="T74" fmla="*/ 108 w 122"/>
                <a:gd name="T75" fmla="*/ 78 h 85"/>
                <a:gd name="T76" fmla="*/ 95 w 122"/>
                <a:gd name="T77" fmla="*/ 46 h 85"/>
                <a:gd name="T78" fmla="*/ 94 w 122"/>
                <a:gd name="T79" fmla="*/ 50 h 85"/>
                <a:gd name="T80" fmla="*/ 99 w 122"/>
                <a:gd name="T81" fmla="*/ 60 h 85"/>
                <a:gd name="T82" fmla="*/ 108 w 122"/>
                <a:gd name="T83" fmla="*/ 68 h 85"/>
                <a:gd name="T84" fmla="*/ 106 w 122"/>
                <a:gd name="T85" fmla="*/ 64 h 85"/>
                <a:gd name="T86" fmla="*/ 98 w 122"/>
                <a:gd name="T87" fmla="*/ 48 h 85"/>
                <a:gd name="T88" fmla="*/ 95 w 122"/>
                <a:gd name="T89" fmla="*/ 4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" h="85">
                  <a:moveTo>
                    <a:pt x="0" y="0"/>
                  </a:moveTo>
                  <a:lnTo>
                    <a:pt x="0" y="0"/>
                  </a:lnTo>
                  <a:lnTo>
                    <a:pt x="2" y="6"/>
                  </a:lnTo>
                  <a:lnTo>
                    <a:pt x="6" y="14"/>
                  </a:lnTo>
                  <a:lnTo>
                    <a:pt x="13" y="21"/>
                  </a:lnTo>
                  <a:lnTo>
                    <a:pt x="16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20" y="21"/>
                  </a:lnTo>
                  <a:lnTo>
                    <a:pt x="22" y="20"/>
                  </a:lnTo>
                  <a:lnTo>
                    <a:pt x="20" y="16"/>
                  </a:lnTo>
                  <a:lnTo>
                    <a:pt x="18" y="12"/>
                  </a:lnTo>
                  <a:lnTo>
                    <a:pt x="13" y="7"/>
                  </a:lnTo>
                  <a:lnTo>
                    <a:pt x="5" y="2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30" y="20"/>
                  </a:moveTo>
                  <a:lnTo>
                    <a:pt x="30" y="20"/>
                  </a:lnTo>
                  <a:lnTo>
                    <a:pt x="31" y="23"/>
                  </a:lnTo>
                  <a:lnTo>
                    <a:pt x="36" y="27"/>
                  </a:lnTo>
                  <a:lnTo>
                    <a:pt x="40" y="30"/>
                  </a:lnTo>
                  <a:lnTo>
                    <a:pt x="41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0"/>
                  </a:lnTo>
                  <a:lnTo>
                    <a:pt x="41" y="28"/>
                  </a:lnTo>
                  <a:lnTo>
                    <a:pt x="37" y="23"/>
                  </a:lnTo>
                  <a:lnTo>
                    <a:pt x="31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close/>
                  <a:moveTo>
                    <a:pt x="81" y="48"/>
                  </a:moveTo>
                  <a:lnTo>
                    <a:pt x="81" y="48"/>
                  </a:lnTo>
                  <a:lnTo>
                    <a:pt x="81" y="46"/>
                  </a:lnTo>
                  <a:lnTo>
                    <a:pt x="80" y="43"/>
                  </a:lnTo>
                  <a:lnTo>
                    <a:pt x="72" y="39"/>
                  </a:lnTo>
                  <a:lnTo>
                    <a:pt x="63" y="35"/>
                  </a:lnTo>
                  <a:lnTo>
                    <a:pt x="61" y="35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61" y="38"/>
                  </a:lnTo>
                  <a:lnTo>
                    <a:pt x="62" y="39"/>
                  </a:lnTo>
                  <a:lnTo>
                    <a:pt x="69" y="43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1" y="48"/>
                  </a:lnTo>
                  <a:lnTo>
                    <a:pt x="81" y="48"/>
                  </a:lnTo>
                  <a:close/>
                  <a:moveTo>
                    <a:pt x="79" y="63"/>
                  </a:moveTo>
                  <a:lnTo>
                    <a:pt x="79" y="63"/>
                  </a:lnTo>
                  <a:lnTo>
                    <a:pt x="81" y="67"/>
                  </a:lnTo>
                  <a:lnTo>
                    <a:pt x="86" y="70"/>
                  </a:lnTo>
                  <a:lnTo>
                    <a:pt x="91" y="71"/>
                  </a:lnTo>
                  <a:lnTo>
                    <a:pt x="95" y="71"/>
                  </a:lnTo>
                  <a:lnTo>
                    <a:pt x="95" y="71"/>
                  </a:lnTo>
                  <a:lnTo>
                    <a:pt x="95" y="70"/>
                  </a:lnTo>
                  <a:lnTo>
                    <a:pt x="94" y="67"/>
                  </a:lnTo>
                  <a:lnTo>
                    <a:pt x="88" y="63"/>
                  </a:lnTo>
                  <a:lnTo>
                    <a:pt x="81" y="60"/>
                  </a:lnTo>
                  <a:lnTo>
                    <a:pt x="79" y="60"/>
                  </a:lnTo>
                  <a:lnTo>
                    <a:pt x="79" y="63"/>
                  </a:lnTo>
                  <a:lnTo>
                    <a:pt x="79" y="63"/>
                  </a:lnTo>
                  <a:close/>
                  <a:moveTo>
                    <a:pt x="108" y="78"/>
                  </a:moveTo>
                  <a:lnTo>
                    <a:pt x="108" y="78"/>
                  </a:lnTo>
                  <a:lnTo>
                    <a:pt x="109" y="80"/>
                  </a:lnTo>
                  <a:lnTo>
                    <a:pt x="113" y="82"/>
                  </a:lnTo>
                  <a:lnTo>
                    <a:pt x="118" y="85"/>
                  </a:lnTo>
                  <a:lnTo>
                    <a:pt x="119" y="85"/>
                  </a:lnTo>
                  <a:lnTo>
                    <a:pt x="122" y="85"/>
                  </a:lnTo>
                  <a:lnTo>
                    <a:pt x="122" y="85"/>
                  </a:lnTo>
                  <a:lnTo>
                    <a:pt x="122" y="84"/>
                  </a:lnTo>
                  <a:lnTo>
                    <a:pt x="120" y="82"/>
                  </a:lnTo>
                  <a:lnTo>
                    <a:pt x="116" y="78"/>
                  </a:lnTo>
                  <a:lnTo>
                    <a:pt x="109" y="77"/>
                  </a:lnTo>
                  <a:lnTo>
                    <a:pt x="108" y="77"/>
                  </a:lnTo>
                  <a:lnTo>
                    <a:pt x="108" y="78"/>
                  </a:lnTo>
                  <a:lnTo>
                    <a:pt x="108" y="78"/>
                  </a:lnTo>
                  <a:close/>
                  <a:moveTo>
                    <a:pt x="95" y="46"/>
                  </a:moveTo>
                  <a:lnTo>
                    <a:pt x="95" y="46"/>
                  </a:lnTo>
                  <a:lnTo>
                    <a:pt x="94" y="50"/>
                  </a:lnTo>
                  <a:lnTo>
                    <a:pt x="95" y="53"/>
                  </a:lnTo>
                  <a:lnTo>
                    <a:pt x="99" y="60"/>
                  </a:lnTo>
                  <a:lnTo>
                    <a:pt x="104" y="66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6" y="64"/>
                  </a:lnTo>
                  <a:lnTo>
                    <a:pt x="104" y="56"/>
                  </a:lnTo>
                  <a:lnTo>
                    <a:pt x="98" y="48"/>
                  </a:lnTo>
                  <a:lnTo>
                    <a:pt x="97" y="46"/>
                  </a:lnTo>
                  <a:lnTo>
                    <a:pt x="95" y="46"/>
                  </a:lnTo>
                  <a:lnTo>
                    <a:pt x="95" y="4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44" name="Freeform 154"/>
            <p:cNvSpPr>
              <a:spLocks noEditPoints="1"/>
            </p:cNvSpPr>
            <p:nvPr/>
          </p:nvSpPr>
          <p:spPr bwMode="auto">
            <a:xfrm>
              <a:off x="8415338" y="4133850"/>
              <a:ext cx="193675" cy="134938"/>
            </a:xfrm>
            <a:custGeom>
              <a:avLst/>
              <a:gdLst>
                <a:gd name="T0" fmla="*/ 0 w 122"/>
                <a:gd name="T1" fmla="*/ 0 h 85"/>
                <a:gd name="T2" fmla="*/ 6 w 122"/>
                <a:gd name="T3" fmla="*/ 14 h 85"/>
                <a:gd name="T4" fmla="*/ 16 w 122"/>
                <a:gd name="T5" fmla="*/ 23 h 85"/>
                <a:gd name="T6" fmla="*/ 19 w 122"/>
                <a:gd name="T7" fmla="*/ 23 h 85"/>
                <a:gd name="T8" fmla="*/ 22 w 122"/>
                <a:gd name="T9" fmla="*/ 20 h 85"/>
                <a:gd name="T10" fmla="*/ 18 w 122"/>
                <a:gd name="T11" fmla="*/ 12 h 85"/>
                <a:gd name="T12" fmla="*/ 5 w 122"/>
                <a:gd name="T13" fmla="*/ 2 h 85"/>
                <a:gd name="T14" fmla="*/ 0 w 122"/>
                <a:gd name="T15" fmla="*/ 0 h 85"/>
                <a:gd name="T16" fmla="*/ 30 w 122"/>
                <a:gd name="T17" fmla="*/ 20 h 85"/>
                <a:gd name="T18" fmla="*/ 31 w 122"/>
                <a:gd name="T19" fmla="*/ 23 h 85"/>
                <a:gd name="T20" fmla="*/ 40 w 122"/>
                <a:gd name="T21" fmla="*/ 30 h 85"/>
                <a:gd name="T22" fmla="*/ 43 w 122"/>
                <a:gd name="T23" fmla="*/ 31 h 85"/>
                <a:gd name="T24" fmla="*/ 43 w 122"/>
                <a:gd name="T25" fmla="*/ 30 h 85"/>
                <a:gd name="T26" fmla="*/ 37 w 122"/>
                <a:gd name="T27" fmla="*/ 23 h 85"/>
                <a:gd name="T28" fmla="*/ 30 w 122"/>
                <a:gd name="T29" fmla="*/ 20 h 85"/>
                <a:gd name="T30" fmla="*/ 30 w 122"/>
                <a:gd name="T31" fmla="*/ 20 h 85"/>
                <a:gd name="T32" fmla="*/ 81 w 122"/>
                <a:gd name="T33" fmla="*/ 48 h 85"/>
                <a:gd name="T34" fmla="*/ 80 w 122"/>
                <a:gd name="T35" fmla="*/ 43 h 85"/>
                <a:gd name="T36" fmla="*/ 63 w 122"/>
                <a:gd name="T37" fmla="*/ 35 h 85"/>
                <a:gd name="T38" fmla="*/ 59 w 122"/>
                <a:gd name="T39" fmla="*/ 35 h 85"/>
                <a:gd name="T40" fmla="*/ 61 w 122"/>
                <a:gd name="T41" fmla="*/ 38 h 85"/>
                <a:gd name="T42" fmla="*/ 69 w 122"/>
                <a:gd name="T43" fmla="*/ 43 h 85"/>
                <a:gd name="T44" fmla="*/ 80 w 122"/>
                <a:gd name="T45" fmla="*/ 48 h 85"/>
                <a:gd name="T46" fmla="*/ 81 w 122"/>
                <a:gd name="T47" fmla="*/ 48 h 85"/>
                <a:gd name="T48" fmla="*/ 79 w 122"/>
                <a:gd name="T49" fmla="*/ 63 h 85"/>
                <a:gd name="T50" fmla="*/ 86 w 122"/>
                <a:gd name="T51" fmla="*/ 70 h 85"/>
                <a:gd name="T52" fmla="*/ 95 w 122"/>
                <a:gd name="T53" fmla="*/ 71 h 85"/>
                <a:gd name="T54" fmla="*/ 95 w 122"/>
                <a:gd name="T55" fmla="*/ 70 h 85"/>
                <a:gd name="T56" fmla="*/ 88 w 122"/>
                <a:gd name="T57" fmla="*/ 63 h 85"/>
                <a:gd name="T58" fmla="*/ 79 w 122"/>
                <a:gd name="T59" fmla="*/ 60 h 85"/>
                <a:gd name="T60" fmla="*/ 79 w 122"/>
                <a:gd name="T61" fmla="*/ 63 h 85"/>
                <a:gd name="T62" fmla="*/ 108 w 122"/>
                <a:gd name="T63" fmla="*/ 78 h 85"/>
                <a:gd name="T64" fmla="*/ 113 w 122"/>
                <a:gd name="T65" fmla="*/ 82 h 85"/>
                <a:gd name="T66" fmla="*/ 119 w 122"/>
                <a:gd name="T67" fmla="*/ 85 h 85"/>
                <a:gd name="T68" fmla="*/ 122 w 122"/>
                <a:gd name="T69" fmla="*/ 85 h 85"/>
                <a:gd name="T70" fmla="*/ 120 w 122"/>
                <a:gd name="T71" fmla="*/ 82 h 85"/>
                <a:gd name="T72" fmla="*/ 109 w 122"/>
                <a:gd name="T73" fmla="*/ 77 h 85"/>
                <a:gd name="T74" fmla="*/ 108 w 122"/>
                <a:gd name="T75" fmla="*/ 78 h 85"/>
                <a:gd name="T76" fmla="*/ 95 w 122"/>
                <a:gd name="T77" fmla="*/ 46 h 85"/>
                <a:gd name="T78" fmla="*/ 94 w 122"/>
                <a:gd name="T79" fmla="*/ 50 h 85"/>
                <a:gd name="T80" fmla="*/ 99 w 122"/>
                <a:gd name="T81" fmla="*/ 60 h 85"/>
                <a:gd name="T82" fmla="*/ 108 w 122"/>
                <a:gd name="T83" fmla="*/ 68 h 85"/>
                <a:gd name="T84" fmla="*/ 106 w 122"/>
                <a:gd name="T85" fmla="*/ 64 h 85"/>
                <a:gd name="T86" fmla="*/ 98 w 122"/>
                <a:gd name="T87" fmla="*/ 48 h 85"/>
                <a:gd name="T88" fmla="*/ 95 w 122"/>
                <a:gd name="T89" fmla="*/ 4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" h="85">
                  <a:moveTo>
                    <a:pt x="0" y="0"/>
                  </a:moveTo>
                  <a:lnTo>
                    <a:pt x="0" y="0"/>
                  </a:lnTo>
                  <a:lnTo>
                    <a:pt x="2" y="6"/>
                  </a:lnTo>
                  <a:lnTo>
                    <a:pt x="6" y="14"/>
                  </a:lnTo>
                  <a:lnTo>
                    <a:pt x="13" y="21"/>
                  </a:lnTo>
                  <a:lnTo>
                    <a:pt x="16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20" y="21"/>
                  </a:lnTo>
                  <a:lnTo>
                    <a:pt x="22" y="20"/>
                  </a:lnTo>
                  <a:lnTo>
                    <a:pt x="20" y="16"/>
                  </a:lnTo>
                  <a:lnTo>
                    <a:pt x="18" y="12"/>
                  </a:lnTo>
                  <a:lnTo>
                    <a:pt x="13" y="7"/>
                  </a:lnTo>
                  <a:lnTo>
                    <a:pt x="5" y="2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30" y="20"/>
                  </a:moveTo>
                  <a:lnTo>
                    <a:pt x="30" y="20"/>
                  </a:lnTo>
                  <a:lnTo>
                    <a:pt x="31" y="23"/>
                  </a:lnTo>
                  <a:lnTo>
                    <a:pt x="36" y="27"/>
                  </a:lnTo>
                  <a:lnTo>
                    <a:pt x="40" y="30"/>
                  </a:lnTo>
                  <a:lnTo>
                    <a:pt x="41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0"/>
                  </a:lnTo>
                  <a:lnTo>
                    <a:pt x="41" y="28"/>
                  </a:lnTo>
                  <a:lnTo>
                    <a:pt x="37" y="23"/>
                  </a:lnTo>
                  <a:lnTo>
                    <a:pt x="31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close/>
                  <a:moveTo>
                    <a:pt x="81" y="48"/>
                  </a:moveTo>
                  <a:lnTo>
                    <a:pt x="81" y="48"/>
                  </a:lnTo>
                  <a:lnTo>
                    <a:pt x="81" y="46"/>
                  </a:lnTo>
                  <a:lnTo>
                    <a:pt x="80" y="43"/>
                  </a:lnTo>
                  <a:lnTo>
                    <a:pt x="72" y="39"/>
                  </a:lnTo>
                  <a:lnTo>
                    <a:pt x="63" y="35"/>
                  </a:lnTo>
                  <a:lnTo>
                    <a:pt x="61" y="35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61" y="38"/>
                  </a:lnTo>
                  <a:lnTo>
                    <a:pt x="62" y="39"/>
                  </a:lnTo>
                  <a:lnTo>
                    <a:pt x="69" y="43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1" y="48"/>
                  </a:lnTo>
                  <a:lnTo>
                    <a:pt x="81" y="48"/>
                  </a:lnTo>
                  <a:close/>
                  <a:moveTo>
                    <a:pt x="79" y="63"/>
                  </a:moveTo>
                  <a:lnTo>
                    <a:pt x="79" y="63"/>
                  </a:lnTo>
                  <a:lnTo>
                    <a:pt x="81" y="67"/>
                  </a:lnTo>
                  <a:lnTo>
                    <a:pt x="86" y="70"/>
                  </a:lnTo>
                  <a:lnTo>
                    <a:pt x="91" y="71"/>
                  </a:lnTo>
                  <a:lnTo>
                    <a:pt x="95" y="71"/>
                  </a:lnTo>
                  <a:lnTo>
                    <a:pt x="95" y="71"/>
                  </a:lnTo>
                  <a:lnTo>
                    <a:pt x="95" y="70"/>
                  </a:lnTo>
                  <a:lnTo>
                    <a:pt x="94" y="67"/>
                  </a:lnTo>
                  <a:lnTo>
                    <a:pt x="88" y="63"/>
                  </a:lnTo>
                  <a:lnTo>
                    <a:pt x="81" y="60"/>
                  </a:lnTo>
                  <a:lnTo>
                    <a:pt x="79" y="60"/>
                  </a:lnTo>
                  <a:lnTo>
                    <a:pt x="79" y="63"/>
                  </a:lnTo>
                  <a:lnTo>
                    <a:pt x="79" y="63"/>
                  </a:lnTo>
                  <a:close/>
                  <a:moveTo>
                    <a:pt x="108" y="78"/>
                  </a:moveTo>
                  <a:lnTo>
                    <a:pt x="108" y="78"/>
                  </a:lnTo>
                  <a:lnTo>
                    <a:pt x="109" y="80"/>
                  </a:lnTo>
                  <a:lnTo>
                    <a:pt x="113" y="82"/>
                  </a:lnTo>
                  <a:lnTo>
                    <a:pt x="118" y="85"/>
                  </a:lnTo>
                  <a:lnTo>
                    <a:pt x="119" y="85"/>
                  </a:lnTo>
                  <a:lnTo>
                    <a:pt x="122" y="85"/>
                  </a:lnTo>
                  <a:lnTo>
                    <a:pt x="122" y="85"/>
                  </a:lnTo>
                  <a:lnTo>
                    <a:pt x="122" y="84"/>
                  </a:lnTo>
                  <a:lnTo>
                    <a:pt x="120" y="82"/>
                  </a:lnTo>
                  <a:lnTo>
                    <a:pt x="116" y="78"/>
                  </a:lnTo>
                  <a:lnTo>
                    <a:pt x="109" y="77"/>
                  </a:lnTo>
                  <a:lnTo>
                    <a:pt x="108" y="77"/>
                  </a:lnTo>
                  <a:lnTo>
                    <a:pt x="108" y="78"/>
                  </a:lnTo>
                  <a:lnTo>
                    <a:pt x="108" y="78"/>
                  </a:lnTo>
                  <a:close/>
                  <a:moveTo>
                    <a:pt x="95" y="46"/>
                  </a:moveTo>
                  <a:lnTo>
                    <a:pt x="95" y="46"/>
                  </a:lnTo>
                  <a:lnTo>
                    <a:pt x="94" y="50"/>
                  </a:lnTo>
                  <a:lnTo>
                    <a:pt x="95" y="53"/>
                  </a:lnTo>
                  <a:lnTo>
                    <a:pt x="99" y="60"/>
                  </a:lnTo>
                  <a:lnTo>
                    <a:pt x="104" y="66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6" y="64"/>
                  </a:lnTo>
                  <a:lnTo>
                    <a:pt x="104" y="56"/>
                  </a:lnTo>
                  <a:lnTo>
                    <a:pt x="98" y="48"/>
                  </a:lnTo>
                  <a:lnTo>
                    <a:pt x="97" y="46"/>
                  </a:lnTo>
                  <a:lnTo>
                    <a:pt x="95" y="46"/>
                  </a:lnTo>
                  <a:lnTo>
                    <a:pt x="95" y="4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45" name="Freeform 160"/>
            <p:cNvSpPr>
              <a:spLocks noEditPoints="1"/>
            </p:cNvSpPr>
            <p:nvPr/>
          </p:nvSpPr>
          <p:spPr bwMode="auto">
            <a:xfrm>
              <a:off x="5740401" y="2441575"/>
              <a:ext cx="1009650" cy="469900"/>
            </a:xfrm>
            <a:custGeom>
              <a:avLst/>
              <a:gdLst>
                <a:gd name="T0" fmla="*/ 610 w 636"/>
                <a:gd name="T1" fmla="*/ 121 h 296"/>
                <a:gd name="T2" fmla="*/ 595 w 636"/>
                <a:gd name="T3" fmla="*/ 103 h 296"/>
                <a:gd name="T4" fmla="*/ 561 w 636"/>
                <a:gd name="T5" fmla="*/ 99 h 296"/>
                <a:gd name="T6" fmla="*/ 532 w 636"/>
                <a:gd name="T7" fmla="*/ 98 h 296"/>
                <a:gd name="T8" fmla="*/ 488 w 636"/>
                <a:gd name="T9" fmla="*/ 36 h 296"/>
                <a:gd name="T10" fmla="*/ 473 w 636"/>
                <a:gd name="T11" fmla="*/ 23 h 296"/>
                <a:gd name="T12" fmla="*/ 438 w 636"/>
                <a:gd name="T13" fmla="*/ 38 h 296"/>
                <a:gd name="T14" fmla="*/ 435 w 636"/>
                <a:gd name="T15" fmla="*/ 31 h 296"/>
                <a:gd name="T16" fmla="*/ 417 w 636"/>
                <a:gd name="T17" fmla="*/ 31 h 296"/>
                <a:gd name="T18" fmla="*/ 398 w 636"/>
                <a:gd name="T19" fmla="*/ 27 h 296"/>
                <a:gd name="T20" fmla="*/ 393 w 636"/>
                <a:gd name="T21" fmla="*/ 9 h 296"/>
                <a:gd name="T22" fmla="*/ 360 w 636"/>
                <a:gd name="T23" fmla="*/ 0 h 296"/>
                <a:gd name="T24" fmla="*/ 307 w 636"/>
                <a:gd name="T25" fmla="*/ 17 h 296"/>
                <a:gd name="T26" fmla="*/ 252 w 636"/>
                <a:gd name="T27" fmla="*/ 28 h 296"/>
                <a:gd name="T28" fmla="*/ 236 w 636"/>
                <a:gd name="T29" fmla="*/ 42 h 296"/>
                <a:gd name="T30" fmla="*/ 230 w 636"/>
                <a:gd name="T31" fmla="*/ 53 h 296"/>
                <a:gd name="T32" fmla="*/ 221 w 636"/>
                <a:gd name="T33" fmla="*/ 79 h 296"/>
                <a:gd name="T34" fmla="*/ 239 w 636"/>
                <a:gd name="T35" fmla="*/ 98 h 296"/>
                <a:gd name="T36" fmla="*/ 214 w 636"/>
                <a:gd name="T37" fmla="*/ 102 h 296"/>
                <a:gd name="T38" fmla="*/ 195 w 636"/>
                <a:gd name="T39" fmla="*/ 93 h 296"/>
                <a:gd name="T40" fmla="*/ 162 w 636"/>
                <a:gd name="T41" fmla="*/ 92 h 296"/>
                <a:gd name="T42" fmla="*/ 132 w 636"/>
                <a:gd name="T43" fmla="*/ 98 h 296"/>
                <a:gd name="T44" fmla="*/ 110 w 636"/>
                <a:gd name="T45" fmla="*/ 84 h 296"/>
                <a:gd name="T46" fmla="*/ 81 w 636"/>
                <a:gd name="T47" fmla="*/ 82 h 296"/>
                <a:gd name="T48" fmla="*/ 46 w 636"/>
                <a:gd name="T49" fmla="*/ 92 h 296"/>
                <a:gd name="T50" fmla="*/ 35 w 636"/>
                <a:gd name="T51" fmla="*/ 116 h 296"/>
                <a:gd name="T52" fmla="*/ 13 w 636"/>
                <a:gd name="T53" fmla="*/ 111 h 296"/>
                <a:gd name="T54" fmla="*/ 10 w 636"/>
                <a:gd name="T55" fmla="*/ 128 h 296"/>
                <a:gd name="T56" fmla="*/ 9 w 636"/>
                <a:gd name="T57" fmla="*/ 146 h 296"/>
                <a:gd name="T58" fmla="*/ 27 w 636"/>
                <a:gd name="T59" fmla="*/ 160 h 296"/>
                <a:gd name="T60" fmla="*/ 39 w 636"/>
                <a:gd name="T61" fmla="*/ 185 h 296"/>
                <a:gd name="T62" fmla="*/ 93 w 636"/>
                <a:gd name="T63" fmla="*/ 177 h 296"/>
                <a:gd name="T64" fmla="*/ 106 w 636"/>
                <a:gd name="T65" fmla="*/ 204 h 296"/>
                <a:gd name="T66" fmla="*/ 71 w 636"/>
                <a:gd name="T67" fmla="*/ 214 h 296"/>
                <a:gd name="T68" fmla="*/ 59 w 636"/>
                <a:gd name="T69" fmla="*/ 228 h 296"/>
                <a:gd name="T70" fmla="*/ 78 w 636"/>
                <a:gd name="T71" fmla="*/ 250 h 296"/>
                <a:gd name="T72" fmla="*/ 96 w 636"/>
                <a:gd name="T73" fmla="*/ 264 h 296"/>
                <a:gd name="T74" fmla="*/ 103 w 636"/>
                <a:gd name="T75" fmla="*/ 270 h 296"/>
                <a:gd name="T76" fmla="*/ 138 w 636"/>
                <a:gd name="T77" fmla="*/ 279 h 296"/>
                <a:gd name="T78" fmla="*/ 196 w 636"/>
                <a:gd name="T79" fmla="*/ 196 h 296"/>
                <a:gd name="T80" fmla="*/ 213 w 636"/>
                <a:gd name="T81" fmla="*/ 192 h 296"/>
                <a:gd name="T82" fmla="*/ 225 w 636"/>
                <a:gd name="T83" fmla="*/ 222 h 296"/>
                <a:gd name="T84" fmla="*/ 280 w 636"/>
                <a:gd name="T85" fmla="*/ 242 h 296"/>
                <a:gd name="T86" fmla="*/ 311 w 636"/>
                <a:gd name="T87" fmla="*/ 266 h 296"/>
                <a:gd name="T88" fmla="*/ 342 w 636"/>
                <a:gd name="T89" fmla="*/ 289 h 296"/>
                <a:gd name="T90" fmla="*/ 364 w 636"/>
                <a:gd name="T91" fmla="*/ 282 h 296"/>
                <a:gd name="T92" fmla="*/ 393 w 636"/>
                <a:gd name="T93" fmla="*/ 259 h 296"/>
                <a:gd name="T94" fmla="*/ 429 w 636"/>
                <a:gd name="T95" fmla="*/ 256 h 296"/>
                <a:gd name="T96" fmla="*/ 466 w 636"/>
                <a:gd name="T97" fmla="*/ 256 h 296"/>
                <a:gd name="T98" fmla="*/ 527 w 636"/>
                <a:gd name="T99" fmla="*/ 266 h 296"/>
                <a:gd name="T100" fmla="*/ 542 w 636"/>
                <a:gd name="T101" fmla="*/ 245 h 296"/>
                <a:gd name="T102" fmla="*/ 535 w 636"/>
                <a:gd name="T103" fmla="*/ 214 h 296"/>
                <a:gd name="T104" fmla="*/ 570 w 636"/>
                <a:gd name="T105" fmla="*/ 211 h 296"/>
                <a:gd name="T106" fmla="*/ 581 w 636"/>
                <a:gd name="T107" fmla="*/ 171 h 296"/>
                <a:gd name="T108" fmla="*/ 617 w 636"/>
                <a:gd name="T109" fmla="*/ 170 h 296"/>
                <a:gd name="T110" fmla="*/ 628 w 636"/>
                <a:gd name="T111" fmla="*/ 145 h 296"/>
                <a:gd name="T112" fmla="*/ 634 w 636"/>
                <a:gd name="T113" fmla="*/ 121 h 296"/>
                <a:gd name="T114" fmla="*/ 227 w 636"/>
                <a:gd name="T115" fmla="*/ 182 h 296"/>
                <a:gd name="T116" fmla="*/ 452 w 636"/>
                <a:gd name="T117" fmla="*/ 189 h 296"/>
                <a:gd name="T118" fmla="*/ 435 w 636"/>
                <a:gd name="T119" fmla="*/ 211 h 296"/>
                <a:gd name="T120" fmla="*/ 477 w 636"/>
                <a:gd name="T121" fmla="*/ 182 h 296"/>
                <a:gd name="T122" fmla="*/ 500 w 636"/>
                <a:gd name="T123" fmla="*/ 188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6" h="296">
                  <a:moveTo>
                    <a:pt x="634" y="121"/>
                  </a:moveTo>
                  <a:lnTo>
                    <a:pt x="634" y="121"/>
                  </a:lnTo>
                  <a:lnTo>
                    <a:pt x="632" y="120"/>
                  </a:lnTo>
                  <a:lnTo>
                    <a:pt x="631" y="120"/>
                  </a:lnTo>
                  <a:lnTo>
                    <a:pt x="628" y="121"/>
                  </a:lnTo>
                  <a:lnTo>
                    <a:pt x="628" y="121"/>
                  </a:lnTo>
                  <a:lnTo>
                    <a:pt x="622" y="123"/>
                  </a:lnTo>
                  <a:lnTo>
                    <a:pt x="616" y="124"/>
                  </a:lnTo>
                  <a:lnTo>
                    <a:pt x="616" y="124"/>
                  </a:lnTo>
                  <a:lnTo>
                    <a:pt x="613" y="123"/>
                  </a:lnTo>
                  <a:lnTo>
                    <a:pt x="610" y="121"/>
                  </a:lnTo>
                  <a:lnTo>
                    <a:pt x="609" y="118"/>
                  </a:lnTo>
                  <a:lnTo>
                    <a:pt x="607" y="117"/>
                  </a:lnTo>
                  <a:lnTo>
                    <a:pt x="607" y="117"/>
                  </a:lnTo>
                  <a:lnTo>
                    <a:pt x="607" y="113"/>
                  </a:lnTo>
                  <a:lnTo>
                    <a:pt x="606" y="111"/>
                  </a:lnTo>
                  <a:lnTo>
                    <a:pt x="604" y="111"/>
                  </a:lnTo>
                  <a:lnTo>
                    <a:pt x="604" y="111"/>
                  </a:lnTo>
                  <a:lnTo>
                    <a:pt x="602" y="110"/>
                  </a:lnTo>
                  <a:lnTo>
                    <a:pt x="599" y="110"/>
                  </a:lnTo>
                  <a:lnTo>
                    <a:pt x="596" y="107"/>
                  </a:lnTo>
                  <a:lnTo>
                    <a:pt x="595" y="103"/>
                  </a:lnTo>
                  <a:lnTo>
                    <a:pt x="595" y="103"/>
                  </a:lnTo>
                  <a:lnTo>
                    <a:pt x="592" y="99"/>
                  </a:lnTo>
                  <a:lnTo>
                    <a:pt x="589" y="98"/>
                  </a:lnTo>
                  <a:lnTo>
                    <a:pt x="585" y="95"/>
                  </a:lnTo>
                  <a:lnTo>
                    <a:pt x="585" y="95"/>
                  </a:lnTo>
                  <a:lnTo>
                    <a:pt x="581" y="95"/>
                  </a:lnTo>
                  <a:lnTo>
                    <a:pt x="577" y="96"/>
                  </a:lnTo>
                  <a:lnTo>
                    <a:pt x="568" y="99"/>
                  </a:lnTo>
                  <a:lnTo>
                    <a:pt x="568" y="99"/>
                  </a:lnTo>
                  <a:lnTo>
                    <a:pt x="566" y="99"/>
                  </a:lnTo>
                  <a:lnTo>
                    <a:pt x="561" y="99"/>
                  </a:lnTo>
                  <a:lnTo>
                    <a:pt x="553" y="96"/>
                  </a:lnTo>
                  <a:lnTo>
                    <a:pt x="553" y="96"/>
                  </a:lnTo>
                  <a:lnTo>
                    <a:pt x="550" y="95"/>
                  </a:lnTo>
                  <a:lnTo>
                    <a:pt x="547" y="92"/>
                  </a:lnTo>
                  <a:lnTo>
                    <a:pt x="545" y="89"/>
                  </a:lnTo>
                  <a:lnTo>
                    <a:pt x="542" y="88"/>
                  </a:lnTo>
                  <a:lnTo>
                    <a:pt x="542" y="88"/>
                  </a:lnTo>
                  <a:lnTo>
                    <a:pt x="539" y="91"/>
                  </a:lnTo>
                  <a:lnTo>
                    <a:pt x="536" y="93"/>
                  </a:lnTo>
                  <a:lnTo>
                    <a:pt x="535" y="96"/>
                  </a:lnTo>
                  <a:lnTo>
                    <a:pt x="532" y="98"/>
                  </a:lnTo>
                  <a:lnTo>
                    <a:pt x="532" y="98"/>
                  </a:lnTo>
                  <a:lnTo>
                    <a:pt x="531" y="98"/>
                  </a:lnTo>
                  <a:lnTo>
                    <a:pt x="529" y="95"/>
                  </a:lnTo>
                  <a:lnTo>
                    <a:pt x="525" y="88"/>
                  </a:lnTo>
                  <a:lnTo>
                    <a:pt x="521" y="78"/>
                  </a:lnTo>
                  <a:lnTo>
                    <a:pt x="516" y="70"/>
                  </a:lnTo>
                  <a:lnTo>
                    <a:pt x="516" y="70"/>
                  </a:lnTo>
                  <a:lnTo>
                    <a:pt x="503" y="50"/>
                  </a:lnTo>
                  <a:lnTo>
                    <a:pt x="495" y="42"/>
                  </a:lnTo>
                  <a:lnTo>
                    <a:pt x="491" y="38"/>
                  </a:lnTo>
                  <a:lnTo>
                    <a:pt x="488" y="36"/>
                  </a:lnTo>
                  <a:lnTo>
                    <a:pt x="488" y="36"/>
                  </a:lnTo>
                  <a:lnTo>
                    <a:pt x="482" y="32"/>
                  </a:lnTo>
                  <a:lnTo>
                    <a:pt x="479" y="30"/>
                  </a:lnTo>
                  <a:lnTo>
                    <a:pt x="481" y="27"/>
                  </a:lnTo>
                  <a:lnTo>
                    <a:pt x="482" y="24"/>
                  </a:lnTo>
                  <a:lnTo>
                    <a:pt x="482" y="24"/>
                  </a:lnTo>
                  <a:lnTo>
                    <a:pt x="484" y="23"/>
                  </a:lnTo>
                  <a:lnTo>
                    <a:pt x="482" y="23"/>
                  </a:lnTo>
                  <a:lnTo>
                    <a:pt x="479" y="21"/>
                  </a:lnTo>
                  <a:lnTo>
                    <a:pt x="477" y="21"/>
                  </a:lnTo>
                  <a:lnTo>
                    <a:pt x="473" y="23"/>
                  </a:lnTo>
                  <a:lnTo>
                    <a:pt x="473" y="23"/>
                  </a:lnTo>
                  <a:lnTo>
                    <a:pt x="466" y="28"/>
                  </a:lnTo>
                  <a:lnTo>
                    <a:pt x="461" y="30"/>
                  </a:lnTo>
                  <a:lnTo>
                    <a:pt x="459" y="31"/>
                  </a:lnTo>
                  <a:lnTo>
                    <a:pt x="459" y="31"/>
                  </a:lnTo>
                  <a:lnTo>
                    <a:pt x="454" y="32"/>
                  </a:lnTo>
                  <a:lnTo>
                    <a:pt x="450" y="35"/>
                  </a:lnTo>
                  <a:lnTo>
                    <a:pt x="445" y="38"/>
                  </a:lnTo>
                  <a:lnTo>
                    <a:pt x="441" y="38"/>
                  </a:lnTo>
                  <a:lnTo>
                    <a:pt x="441" y="38"/>
                  </a:lnTo>
                  <a:lnTo>
                    <a:pt x="438" y="38"/>
                  </a:lnTo>
                  <a:lnTo>
                    <a:pt x="435" y="41"/>
                  </a:lnTo>
                  <a:lnTo>
                    <a:pt x="432" y="42"/>
                  </a:lnTo>
                  <a:lnTo>
                    <a:pt x="431" y="42"/>
                  </a:lnTo>
                  <a:lnTo>
                    <a:pt x="429" y="41"/>
                  </a:lnTo>
                  <a:lnTo>
                    <a:pt x="429" y="41"/>
                  </a:lnTo>
                  <a:lnTo>
                    <a:pt x="428" y="39"/>
                  </a:lnTo>
                  <a:lnTo>
                    <a:pt x="428" y="38"/>
                  </a:lnTo>
                  <a:lnTo>
                    <a:pt x="431" y="35"/>
                  </a:lnTo>
                  <a:lnTo>
                    <a:pt x="434" y="34"/>
                  </a:lnTo>
                  <a:lnTo>
                    <a:pt x="435" y="31"/>
                  </a:lnTo>
                  <a:lnTo>
                    <a:pt x="435" y="31"/>
                  </a:lnTo>
                  <a:lnTo>
                    <a:pt x="434" y="30"/>
                  </a:lnTo>
                  <a:lnTo>
                    <a:pt x="431" y="30"/>
                  </a:lnTo>
                  <a:lnTo>
                    <a:pt x="428" y="31"/>
                  </a:lnTo>
                  <a:lnTo>
                    <a:pt x="427" y="30"/>
                  </a:lnTo>
                  <a:lnTo>
                    <a:pt x="427" y="30"/>
                  </a:lnTo>
                  <a:lnTo>
                    <a:pt x="423" y="27"/>
                  </a:lnTo>
                  <a:lnTo>
                    <a:pt x="420" y="27"/>
                  </a:lnTo>
                  <a:lnTo>
                    <a:pt x="420" y="28"/>
                  </a:lnTo>
                  <a:lnTo>
                    <a:pt x="420" y="28"/>
                  </a:lnTo>
                  <a:lnTo>
                    <a:pt x="418" y="30"/>
                  </a:lnTo>
                  <a:lnTo>
                    <a:pt x="417" y="31"/>
                  </a:lnTo>
                  <a:lnTo>
                    <a:pt x="416" y="30"/>
                  </a:lnTo>
                  <a:lnTo>
                    <a:pt x="414" y="28"/>
                  </a:lnTo>
                  <a:lnTo>
                    <a:pt x="414" y="28"/>
                  </a:lnTo>
                  <a:lnTo>
                    <a:pt x="414" y="25"/>
                  </a:lnTo>
                  <a:lnTo>
                    <a:pt x="413" y="24"/>
                  </a:lnTo>
                  <a:lnTo>
                    <a:pt x="411" y="23"/>
                  </a:lnTo>
                  <a:lnTo>
                    <a:pt x="409" y="24"/>
                  </a:lnTo>
                  <a:lnTo>
                    <a:pt x="409" y="24"/>
                  </a:lnTo>
                  <a:lnTo>
                    <a:pt x="406" y="25"/>
                  </a:lnTo>
                  <a:lnTo>
                    <a:pt x="402" y="27"/>
                  </a:lnTo>
                  <a:lnTo>
                    <a:pt x="398" y="27"/>
                  </a:lnTo>
                  <a:lnTo>
                    <a:pt x="395" y="27"/>
                  </a:lnTo>
                  <a:lnTo>
                    <a:pt x="395" y="27"/>
                  </a:lnTo>
                  <a:lnTo>
                    <a:pt x="393" y="24"/>
                  </a:lnTo>
                  <a:lnTo>
                    <a:pt x="395" y="23"/>
                  </a:lnTo>
                  <a:lnTo>
                    <a:pt x="396" y="20"/>
                  </a:lnTo>
                  <a:lnTo>
                    <a:pt x="396" y="20"/>
                  </a:lnTo>
                  <a:lnTo>
                    <a:pt x="396" y="17"/>
                  </a:lnTo>
                  <a:lnTo>
                    <a:pt x="395" y="14"/>
                  </a:lnTo>
                  <a:lnTo>
                    <a:pt x="393" y="11"/>
                  </a:lnTo>
                  <a:lnTo>
                    <a:pt x="393" y="9"/>
                  </a:lnTo>
                  <a:lnTo>
                    <a:pt x="393" y="9"/>
                  </a:lnTo>
                  <a:lnTo>
                    <a:pt x="392" y="6"/>
                  </a:lnTo>
                  <a:lnTo>
                    <a:pt x="391" y="3"/>
                  </a:lnTo>
                  <a:lnTo>
                    <a:pt x="386" y="2"/>
                  </a:lnTo>
                  <a:lnTo>
                    <a:pt x="384" y="2"/>
                  </a:lnTo>
                  <a:lnTo>
                    <a:pt x="384" y="2"/>
                  </a:lnTo>
                  <a:lnTo>
                    <a:pt x="381" y="3"/>
                  </a:lnTo>
                  <a:lnTo>
                    <a:pt x="378" y="3"/>
                  </a:lnTo>
                  <a:lnTo>
                    <a:pt x="371" y="0"/>
                  </a:lnTo>
                  <a:lnTo>
                    <a:pt x="371" y="0"/>
                  </a:lnTo>
                  <a:lnTo>
                    <a:pt x="367" y="0"/>
                  </a:lnTo>
                  <a:lnTo>
                    <a:pt x="360" y="0"/>
                  </a:lnTo>
                  <a:lnTo>
                    <a:pt x="354" y="3"/>
                  </a:lnTo>
                  <a:lnTo>
                    <a:pt x="352" y="5"/>
                  </a:lnTo>
                  <a:lnTo>
                    <a:pt x="352" y="5"/>
                  </a:lnTo>
                  <a:lnTo>
                    <a:pt x="350" y="6"/>
                  </a:lnTo>
                  <a:lnTo>
                    <a:pt x="349" y="7"/>
                  </a:lnTo>
                  <a:lnTo>
                    <a:pt x="342" y="10"/>
                  </a:lnTo>
                  <a:lnTo>
                    <a:pt x="330" y="13"/>
                  </a:lnTo>
                  <a:lnTo>
                    <a:pt x="330" y="13"/>
                  </a:lnTo>
                  <a:lnTo>
                    <a:pt x="318" y="16"/>
                  </a:lnTo>
                  <a:lnTo>
                    <a:pt x="307" y="17"/>
                  </a:lnTo>
                  <a:lnTo>
                    <a:pt x="307" y="17"/>
                  </a:lnTo>
                  <a:lnTo>
                    <a:pt x="299" y="20"/>
                  </a:lnTo>
                  <a:lnTo>
                    <a:pt x="295" y="21"/>
                  </a:lnTo>
                  <a:lnTo>
                    <a:pt x="291" y="21"/>
                  </a:lnTo>
                  <a:lnTo>
                    <a:pt x="291" y="21"/>
                  </a:lnTo>
                  <a:lnTo>
                    <a:pt x="278" y="23"/>
                  </a:lnTo>
                  <a:lnTo>
                    <a:pt x="273" y="24"/>
                  </a:lnTo>
                  <a:lnTo>
                    <a:pt x="267" y="27"/>
                  </a:lnTo>
                  <a:lnTo>
                    <a:pt x="267" y="27"/>
                  </a:lnTo>
                  <a:lnTo>
                    <a:pt x="263" y="28"/>
                  </a:lnTo>
                  <a:lnTo>
                    <a:pt x="257" y="28"/>
                  </a:lnTo>
                  <a:lnTo>
                    <a:pt x="252" y="28"/>
                  </a:lnTo>
                  <a:lnTo>
                    <a:pt x="249" y="28"/>
                  </a:lnTo>
                  <a:lnTo>
                    <a:pt x="249" y="28"/>
                  </a:lnTo>
                  <a:lnTo>
                    <a:pt x="245" y="30"/>
                  </a:lnTo>
                  <a:lnTo>
                    <a:pt x="241" y="30"/>
                  </a:lnTo>
                  <a:lnTo>
                    <a:pt x="238" y="30"/>
                  </a:lnTo>
                  <a:lnTo>
                    <a:pt x="235" y="30"/>
                  </a:lnTo>
                  <a:lnTo>
                    <a:pt x="235" y="30"/>
                  </a:lnTo>
                  <a:lnTo>
                    <a:pt x="234" y="31"/>
                  </a:lnTo>
                  <a:lnTo>
                    <a:pt x="234" y="35"/>
                  </a:lnTo>
                  <a:lnTo>
                    <a:pt x="235" y="39"/>
                  </a:lnTo>
                  <a:lnTo>
                    <a:pt x="236" y="42"/>
                  </a:lnTo>
                  <a:lnTo>
                    <a:pt x="236" y="42"/>
                  </a:lnTo>
                  <a:lnTo>
                    <a:pt x="239" y="45"/>
                  </a:lnTo>
                  <a:lnTo>
                    <a:pt x="243" y="46"/>
                  </a:lnTo>
                  <a:lnTo>
                    <a:pt x="248" y="48"/>
                  </a:lnTo>
                  <a:lnTo>
                    <a:pt x="250" y="49"/>
                  </a:lnTo>
                  <a:lnTo>
                    <a:pt x="250" y="49"/>
                  </a:lnTo>
                  <a:lnTo>
                    <a:pt x="248" y="50"/>
                  </a:lnTo>
                  <a:lnTo>
                    <a:pt x="243" y="52"/>
                  </a:lnTo>
                  <a:lnTo>
                    <a:pt x="234" y="52"/>
                  </a:lnTo>
                  <a:lnTo>
                    <a:pt x="234" y="52"/>
                  </a:lnTo>
                  <a:lnTo>
                    <a:pt x="230" y="53"/>
                  </a:lnTo>
                  <a:lnTo>
                    <a:pt x="230" y="57"/>
                  </a:lnTo>
                  <a:lnTo>
                    <a:pt x="230" y="60"/>
                  </a:lnTo>
                  <a:lnTo>
                    <a:pt x="231" y="63"/>
                  </a:lnTo>
                  <a:lnTo>
                    <a:pt x="231" y="63"/>
                  </a:lnTo>
                  <a:lnTo>
                    <a:pt x="230" y="66"/>
                  </a:lnTo>
                  <a:lnTo>
                    <a:pt x="228" y="68"/>
                  </a:lnTo>
                  <a:lnTo>
                    <a:pt x="221" y="71"/>
                  </a:lnTo>
                  <a:lnTo>
                    <a:pt x="221" y="71"/>
                  </a:lnTo>
                  <a:lnTo>
                    <a:pt x="218" y="74"/>
                  </a:lnTo>
                  <a:lnTo>
                    <a:pt x="220" y="77"/>
                  </a:lnTo>
                  <a:lnTo>
                    <a:pt x="221" y="79"/>
                  </a:lnTo>
                  <a:lnTo>
                    <a:pt x="225" y="79"/>
                  </a:lnTo>
                  <a:lnTo>
                    <a:pt x="225" y="79"/>
                  </a:lnTo>
                  <a:lnTo>
                    <a:pt x="228" y="81"/>
                  </a:lnTo>
                  <a:lnTo>
                    <a:pt x="231" y="82"/>
                  </a:lnTo>
                  <a:lnTo>
                    <a:pt x="236" y="84"/>
                  </a:lnTo>
                  <a:lnTo>
                    <a:pt x="236" y="84"/>
                  </a:lnTo>
                  <a:lnTo>
                    <a:pt x="238" y="85"/>
                  </a:lnTo>
                  <a:lnTo>
                    <a:pt x="239" y="88"/>
                  </a:lnTo>
                  <a:lnTo>
                    <a:pt x="241" y="95"/>
                  </a:lnTo>
                  <a:lnTo>
                    <a:pt x="241" y="95"/>
                  </a:lnTo>
                  <a:lnTo>
                    <a:pt x="239" y="98"/>
                  </a:lnTo>
                  <a:lnTo>
                    <a:pt x="238" y="99"/>
                  </a:lnTo>
                  <a:lnTo>
                    <a:pt x="234" y="100"/>
                  </a:lnTo>
                  <a:lnTo>
                    <a:pt x="231" y="100"/>
                  </a:lnTo>
                  <a:lnTo>
                    <a:pt x="231" y="100"/>
                  </a:lnTo>
                  <a:lnTo>
                    <a:pt x="227" y="99"/>
                  </a:lnTo>
                  <a:lnTo>
                    <a:pt x="224" y="98"/>
                  </a:lnTo>
                  <a:lnTo>
                    <a:pt x="218" y="95"/>
                  </a:lnTo>
                  <a:lnTo>
                    <a:pt x="218" y="95"/>
                  </a:lnTo>
                  <a:lnTo>
                    <a:pt x="217" y="96"/>
                  </a:lnTo>
                  <a:lnTo>
                    <a:pt x="216" y="99"/>
                  </a:lnTo>
                  <a:lnTo>
                    <a:pt x="214" y="102"/>
                  </a:lnTo>
                  <a:lnTo>
                    <a:pt x="213" y="103"/>
                  </a:lnTo>
                  <a:lnTo>
                    <a:pt x="213" y="103"/>
                  </a:lnTo>
                  <a:lnTo>
                    <a:pt x="211" y="103"/>
                  </a:lnTo>
                  <a:lnTo>
                    <a:pt x="210" y="102"/>
                  </a:lnTo>
                  <a:lnTo>
                    <a:pt x="207" y="99"/>
                  </a:lnTo>
                  <a:lnTo>
                    <a:pt x="206" y="98"/>
                  </a:lnTo>
                  <a:lnTo>
                    <a:pt x="206" y="98"/>
                  </a:lnTo>
                  <a:lnTo>
                    <a:pt x="199" y="98"/>
                  </a:lnTo>
                  <a:lnTo>
                    <a:pt x="196" y="96"/>
                  </a:lnTo>
                  <a:lnTo>
                    <a:pt x="195" y="93"/>
                  </a:lnTo>
                  <a:lnTo>
                    <a:pt x="195" y="93"/>
                  </a:lnTo>
                  <a:lnTo>
                    <a:pt x="192" y="91"/>
                  </a:lnTo>
                  <a:lnTo>
                    <a:pt x="188" y="89"/>
                  </a:lnTo>
                  <a:lnTo>
                    <a:pt x="184" y="91"/>
                  </a:lnTo>
                  <a:lnTo>
                    <a:pt x="180" y="92"/>
                  </a:lnTo>
                  <a:lnTo>
                    <a:pt x="180" y="92"/>
                  </a:lnTo>
                  <a:lnTo>
                    <a:pt x="177" y="95"/>
                  </a:lnTo>
                  <a:lnTo>
                    <a:pt x="175" y="95"/>
                  </a:lnTo>
                  <a:lnTo>
                    <a:pt x="171" y="92"/>
                  </a:lnTo>
                  <a:lnTo>
                    <a:pt x="171" y="92"/>
                  </a:lnTo>
                  <a:lnTo>
                    <a:pt x="167" y="91"/>
                  </a:lnTo>
                  <a:lnTo>
                    <a:pt x="162" y="92"/>
                  </a:lnTo>
                  <a:lnTo>
                    <a:pt x="157" y="93"/>
                  </a:lnTo>
                  <a:lnTo>
                    <a:pt x="156" y="96"/>
                  </a:lnTo>
                  <a:lnTo>
                    <a:pt x="156" y="96"/>
                  </a:lnTo>
                  <a:lnTo>
                    <a:pt x="153" y="99"/>
                  </a:lnTo>
                  <a:lnTo>
                    <a:pt x="149" y="100"/>
                  </a:lnTo>
                  <a:lnTo>
                    <a:pt x="145" y="100"/>
                  </a:lnTo>
                  <a:lnTo>
                    <a:pt x="141" y="98"/>
                  </a:lnTo>
                  <a:lnTo>
                    <a:pt x="141" y="98"/>
                  </a:lnTo>
                  <a:lnTo>
                    <a:pt x="134" y="95"/>
                  </a:lnTo>
                  <a:lnTo>
                    <a:pt x="132" y="96"/>
                  </a:lnTo>
                  <a:lnTo>
                    <a:pt x="132" y="98"/>
                  </a:lnTo>
                  <a:lnTo>
                    <a:pt x="132" y="98"/>
                  </a:lnTo>
                  <a:lnTo>
                    <a:pt x="131" y="100"/>
                  </a:lnTo>
                  <a:lnTo>
                    <a:pt x="130" y="100"/>
                  </a:lnTo>
                  <a:lnTo>
                    <a:pt x="128" y="98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5" y="93"/>
                  </a:lnTo>
                  <a:lnTo>
                    <a:pt x="123" y="91"/>
                  </a:lnTo>
                  <a:lnTo>
                    <a:pt x="114" y="85"/>
                  </a:lnTo>
                  <a:lnTo>
                    <a:pt x="114" y="85"/>
                  </a:lnTo>
                  <a:lnTo>
                    <a:pt x="110" y="84"/>
                  </a:lnTo>
                  <a:lnTo>
                    <a:pt x="105" y="82"/>
                  </a:lnTo>
                  <a:lnTo>
                    <a:pt x="99" y="81"/>
                  </a:lnTo>
                  <a:lnTo>
                    <a:pt x="96" y="79"/>
                  </a:lnTo>
                  <a:lnTo>
                    <a:pt x="96" y="79"/>
                  </a:lnTo>
                  <a:lnTo>
                    <a:pt x="95" y="78"/>
                  </a:lnTo>
                  <a:lnTo>
                    <a:pt x="91" y="77"/>
                  </a:lnTo>
                  <a:lnTo>
                    <a:pt x="88" y="77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4" y="81"/>
                  </a:lnTo>
                  <a:lnTo>
                    <a:pt x="81" y="82"/>
                  </a:lnTo>
                  <a:lnTo>
                    <a:pt x="77" y="79"/>
                  </a:lnTo>
                  <a:lnTo>
                    <a:pt x="77" y="79"/>
                  </a:lnTo>
                  <a:lnTo>
                    <a:pt x="74" y="79"/>
                  </a:lnTo>
                  <a:lnTo>
                    <a:pt x="71" y="79"/>
                  </a:lnTo>
                  <a:lnTo>
                    <a:pt x="66" y="82"/>
                  </a:lnTo>
                  <a:lnTo>
                    <a:pt x="66" y="82"/>
                  </a:lnTo>
                  <a:lnTo>
                    <a:pt x="57" y="88"/>
                  </a:lnTo>
                  <a:lnTo>
                    <a:pt x="53" y="89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46" y="92"/>
                  </a:lnTo>
                  <a:lnTo>
                    <a:pt x="45" y="93"/>
                  </a:lnTo>
                  <a:lnTo>
                    <a:pt x="44" y="96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37" y="99"/>
                  </a:lnTo>
                  <a:lnTo>
                    <a:pt x="35" y="102"/>
                  </a:lnTo>
                  <a:lnTo>
                    <a:pt x="37" y="106"/>
                  </a:lnTo>
                  <a:lnTo>
                    <a:pt x="37" y="106"/>
                  </a:lnTo>
                  <a:lnTo>
                    <a:pt x="38" y="111"/>
                  </a:lnTo>
                  <a:lnTo>
                    <a:pt x="37" y="114"/>
                  </a:lnTo>
                  <a:lnTo>
                    <a:pt x="35" y="116"/>
                  </a:lnTo>
                  <a:lnTo>
                    <a:pt x="35" y="116"/>
                  </a:lnTo>
                  <a:lnTo>
                    <a:pt x="32" y="117"/>
                  </a:lnTo>
                  <a:lnTo>
                    <a:pt x="31" y="116"/>
                  </a:lnTo>
                  <a:lnTo>
                    <a:pt x="28" y="113"/>
                  </a:lnTo>
                  <a:lnTo>
                    <a:pt x="25" y="109"/>
                  </a:lnTo>
                  <a:lnTo>
                    <a:pt x="23" y="106"/>
                  </a:lnTo>
                  <a:lnTo>
                    <a:pt x="23" y="106"/>
                  </a:lnTo>
                  <a:lnTo>
                    <a:pt x="19" y="104"/>
                  </a:lnTo>
                  <a:lnTo>
                    <a:pt x="16" y="106"/>
                  </a:lnTo>
                  <a:lnTo>
                    <a:pt x="14" y="107"/>
                  </a:lnTo>
                  <a:lnTo>
                    <a:pt x="13" y="111"/>
                  </a:lnTo>
                  <a:lnTo>
                    <a:pt x="13" y="111"/>
                  </a:lnTo>
                  <a:lnTo>
                    <a:pt x="12" y="114"/>
                  </a:lnTo>
                  <a:lnTo>
                    <a:pt x="10" y="116"/>
                  </a:lnTo>
                  <a:lnTo>
                    <a:pt x="7" y="118"/>
                  </a:lnTo>
                  <a:lnTo>
                    <a:pt x="5" y="121"/>
                  </a:lnTo>
                  <a:lnTo>
                    <a:pt x="5" y="121"/>
                  </a:lnTo>
                  <a:lnTo>
                    <a:pt x="5" y="124"/>
                  </a:lnTo>
                  <a:lnTo>
                    <a:pt x="6" y="125"/>
                  </a:lnTo>
                  <a:lnTo>
                    <a:pt x="9" y="127"/>
                  </a:lnTo>
                  <a:lnTo>
                    <a:pt x="10" y="128"/>
                  </a:lnTo>
                  <a:lnTo>
                    <a:pt x="10" y="128"/>
                  </a:lnTo>
                  <a:lnTo>
                    <a:pt x="9" y="129"/>
                  </a:lnTo>
                  <a:lnTo>
                    <a:pt x="7" y="132"/>
                  </a:lnTo>
                  <a:lnTo>
                    <a:pt x="5" y="134"/>
                  </a:lnTo>
                  <a:lnTo>
                    <a:pt x="5" y="134"/>
                  </a:lnTo>
                  <a:lnTo>
                    <a:pt x="2" y="138"/>
                  </a:lnTo>
                  <a:lnTo>
                    <a:pt x="0" y="141"/>
                  </a:lnTo>
                  <a:lnTo>
                    <a:pt x="0" y="143"/>
                  </a:lnTo>
                  <a:lnTo>
                    <a:pt x="0" y="143"/>
                  </a:lnTo>
                  <a:lnTo>
                    <a:pt x="3" y="145"/>
                  </a:lnTo>
                  <a:lnTo>
                    <a:pt x="6" y="145"/>
                  </a:lnTo>
                  <a:lnTo>
                    <a:pt x="9" y="146"/>
                  </a:lnTo>
                  <a:lnTo>
                    <a:pt x="10" y="149"/>
                  </a:lnTo>
                  <a:lnTo>
                    <a:pt x="10" y="149"/>
                  </a:lnTo>
                  <a:lnTo>
                    <a:pt x="9" y="156"/>
                  </a:lnTo>
                  <a:lnTo>
                    <a:pt x="10" y="157"/>
                  </a:lnTo>
                  <a:lnTo>
                    <a:pt x="13" y="157"/>
                  </a:lnTo>
                  <a:lnTo>
                    <a:pt x="13" y="157"/>
                  </a:lnTo>
                  <a:lnTo>
                    <a:pt x="19" y="157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25" y="159"/>
                  </a:lnTo>
                  <a:lnTo>
                    <a:pt x="27" y="160"/>
                  </a:lnTo>
                  <a:lnTo>
                    <a:pt x="34" y="168"/>
                  </a:lnTo>
                  <a:lnTo>
                    <a:pt x="34" y="168"/>
                  </a:lnTo>
                  <a:lnTo>
                    <a:pt x="38" y="175"/>
                  </a:lnTo>
                  <a:lnTo>
                    <a:pt x="38" y="177"/>
                  </a:lnTo>
                  <a:lnTo>
                    <a:pt x="35" y="178"/>
                  </a:lnTo>
                  <a:lnTo>
                    <a:pt x="35" y="178"/>
                  </a:lnTo>
                  <a:lnTo>
                    <a:pt x="32" y="179"/>
                  </a:lnTo>
                  <a:lnTo>
                    <a:pt x="32" y="181"/>
                  </a:lnTo>
                  <a:lnTo>
                    <a:pt x="35" y="182"/>
                  </a:lnTo>
                  <a:lnTo>
                    <a:pt x="39" y="185"/>
                  </a:lnTo>
                  <a:lnTo>
                    <a:pt x="39" y="185"/>
                  </a:lnTo>
                  <a:lnTo>
                    <a:pt x="44" y="188"/>
                  </a:lnTo>
                  <a:lnTo>
                    <a:pt x="44" y="188"/>
                  </a:lnTo>
                  <a:lnTo>
                    <a:pt x="46" y="186"/>
                  </a:lnTo>
                  <a:lnTo>
                    <a:pt x="46" y="186"/>
                  </a:lnTo>
                  <a:lnTo>
                    <a:pt x="53" y="181"/>
                  </a:lnTo>
                  <a:lnTo>
                    <a:pt x="62" y="177"/>
                  </a:lnTo>
                  <a:lnTo>
                    <a:pt x="71" y="175"/>
                  </a:lnTo>
                  <a:lnTo>
                    <a:pt x="80" y="175"/>
                  </a:lnTo>
                  <a:lnTo>
                    <a:pt x="80" y="175"/>
                  </a:lnTo>
                  <a:lnTo>
                    <a:pt x="87" y="177"/>
                  </a:lnTo>
                  <a:lnTo>
                    <a:pt x="93" y="177"/>
                  </a:lnTo>
                  <a:lnTo>
                    <a:pt x="99" y="177"/>
                  </a:lnTo>
                  <a:lnTo>
                    <a:pt x="102" y="178"/>
                  </a:lnTo>
                  <a:lnTo>
                    <a:pt x="103" y="179"/>
                  </a:lnTo>
                  <a:lnTo>
                    <a:pt x="103" y="179"/>
                  </a:lnTo>
                  <a:lnTo>
                    <a:pt x="105" y="182"/>
                  </a:lnTo>
                  <a:lnTo>
                    <a:pt x="106" y="185"/>
                  </a:lnTo>
                  <a:lnTo>
                    <a:pt x="106" y="192"/>
                  </a:lnTo>
                  <a:lnTo>
                    <a:pt x="105" y="199"/>
                  </a:lnTo>
                  <a:lnTo>
                    <a:pt x="106" y="203"/>
                  </a:lnTo>
                  <a:lnTo>
                    <a:pt x="106" y="203"/>
                  </a:lnTo>
                  <a:lnTo>
                    <a:pt x="106" y="204"/>
                  </a:lnTo>
                  <a:lnTo>
                    <a:pt x="105" y="206"/>
                  </a:lnTo>
                  <a:lnTo>
                    <a:pt x="100" y="207"/>
                  </a:lnTo>
                  <a:lnTo>
                    <a:pt x="96" y="207"/>
                  </a:lnTo>
                  <a:lnTo>
                    <a:pt x="91" y="207"/>
                  </a:lnTo>
                  <a:lnTo>
                    <a:pt x="91" y="207"/>
                  </a:lnTo>
                  <a:lnTo>
                    <a:pt x="84" y="207"/>
                  </a:lnTo>
                  <a:lnTo>
                    <a:pt x="77" y="209"/>
                  </a:lnTo>
                  <a:lnTo>
                    <a:pt x="71" y="211"/>
                  </a:lnTo>
                  <a:lnTo>
                    <a:pt x="71" y="213"/>
                  </a:lnTo>
                  <a:lnTo>
                    <a:pt x="71" y="214"/>
                  </a:lnTo>
                  <a:lnTo>
                    <a:pt x="71" y="214"/>
                  </a:lnTo>
                  <a:lnTo>
                    <a:pt x="74" y="222"/>
                  </a:lnTo>
                  <a:lnTo>
                    <a:pt x="74" y="224"/>
                  </a:lnTo>
                  <a:lnTo>
                    <a:pt x="73" y="224"/>
                  </a:lnTo>
                  <a:lnTo>
                    <a:pt x="69" y="222"/>
                  </a:lnTo>
                  <a:lnTo>
                    <a:pt x="69" y="222"/>
                  </a:lnTo>
                  <a:lnTo>
                    <a:pt x="66" y="221"/>
                  </a:lnTo>
                  <a:lnTo>
                    <a:pt x="63" y="221"/>
                  </a:lnTo>
                  <a:lnTo>
                    <a:pt x="60" y="222"/>
                  </a:lnTo>
                  <a:lnTo>
                    <a:pt x="59" y="224"/>
                  </a:lnTo>
                  <a:lnTo>
                    <a:pt x="59" y="227"/>
                  </a:lnTo>
                  <a:lnTo>
                    <a:pt x="59" y="228"/>
                  </a:lnTo>
                  <a:lnTo>
                    <a:pt x="60" y="228"/>
                  </a:lnTo>
                  <a:lnTo>
                    <a:pt x="60" y="228"/>
                  </a:lnTo>
                  <a:lnTo>
                    <a:pt x="64" y="229"/>
                  </a:lnTo>
                  <a:lnTo>
                    <a:pt x="69" y="231"/>
                  </a:lnTo>
                  <a:lnTo>
                    <a:pt x="71" y="235"/>
                  </a:lnTo>
                  <a:lnTo>
                    <a:pt x="73" y="238"/>
                  </a:lnTo>
                  <a:lnTo>
                    <a:pt x="73" y="238"/>
                  </a:lnTo>
                  <a:lnTo>
                    <a:pt x="73" y="246"/>
                  </a:lnTo>
                  <a:lnTo>
                    <a:pt x="75" y="249"/>
                  </a:lnTo>
                  <a:lnTo>
                    <a:pt x="75" y="250"/>
                  </a:lnTo>
                  <a:lnTo>
                    <a:pt x="78" y="250"/>
                  </a:lnTo>
                  <a:lnTo>
                    <a:pt x="78" y="250"/>
                  </a:lnTo>
                  <a:lnTo>
                    <a:pt x="81" y="250"/>
                  </a:lnTo>
                  <a:lnTo>
                    <a:pt x="82" y="253"/>
                  </a:lnTo>
                  <a:lnTo>
                    <a:pt x="85" y="256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93" y="257"/>
                  </a:lnTo>
                  <a:lnTo>
                    <a:pt x="96" y="259"/>
                  </a:lnTo>
                  <a:lnTo>
                    <a:pt x="98" y="260"/>
                  </a:lnTo>
                  <a:lnTo>
                    <a:pt x="96" y="264"/>
                  </a:lnTo>
                  <a:lnTo>
                    <a:pt x="96" y="264"/>
                  </a:lnTo>
                  <a:lnTo>
                    <a:pt x="95" y="267"/>
                  </a:lnTo>
                  <a:lnTo>
                    <a:pt x="95" y="271"/>
                  </a:lnTo>
                  <a:lnTo>
                    <a:pt x="96" y="278"/>
                  </a:lnTo>
                  <a:lnTo>
                    <a:pt x="99" y="282"/>
                  </a:lnTo>
                  <a:lnTo>
                    <a:pt x="100" y="284"/>
                  </a:lnTo>
                  <a:lnTo>
                    <a:pt x="102" y="284"/>
                  </a:lnTo>
                  <a:lnTo>
                    <a:pt x="102" y="284"/>
                  </a:lnTo>
                  <a:lnTo>
                    <a:pt x="102" y="278"/>
                  </a:lnTo>
                  <a:lnTo>
                    <a:pt x="103" y="272"/>
                  </a:lnTo>
                  <a:lnTo>
                    <a:pt x="103" y="272"/>
                  </a:lnTo>
                  <a:lnTo>
                    <a:pt x="103" y="270"/>
                  </a:lnTo>
                  <a:lnTo>
                    <a:pt x="103" y="268"/>
                  </a:lnTo>
                  <a:lnTo>
                    <a:pt x="106" y="267"/>
                  </a:lnTo>
                  <a:lnTo>
                    <a:pt x="109" y="266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0" y="264"/>
                  </a:lnTo>
                  <a:lnTo>
                    <a:pt x="124" y="266"/>
                  </a:lnTo>
                  <a:lnTo>
                    <a:pt x="128" y="268"/>
                  </a:lnTo>
                  <a:lnTo>
                    <a:pt x="134" y="274"/>
                  </a:lnTo>
                  <a:lnTo>
                    <a:pt x="138" y="279"/>
                  </a:lnTo>
                  <a:lnTo>
                    <a:pt x="138" y="279"/>
                  </a:lnTo>
                  <a:lnTo>
                    <a:pt x="142" y="282"/>
                  </a:lnTo>
                  <a:lnTo>
                    <a:pt x="146" y="284"/>
                  </a:lnTo>
                  <a:lnTo>
                    <a:pt x="149" y="282"/>
                  </a:lnTo>
                  <a:lnTo>
                    <a:pt x="149" y="282"/>
                  </a:lnTo>
                  <a:lnTo>
                    <a:pt x="152" y="213"/>
                  </a:lnTo>
                  <a:lnTo>
                    <a:pt x="191" y="202"/>
                  </a:lnTo>
                  <a:lnTo>
                    <a:pt x="191" y="202"/>
                  </a:lnTo>
                  <a:lnTo>
                    <a:pt x="192" y="199"/>
                  </a:lnTo>
                  <a:lnTo>
                    <a:pt x="192" y="199"/>
                  </a:lnTo>
                  <a:lnTo>
                    <a:pt x="195" y="197"/>
                  </a:lnTo>
                  <a:lnTo>
                    <a:pt x="196" y="196"/>
                  </a:lnTo>
                  <a:lnTo>
                    <a:pt x="200" y="196"/>
                  </a:lnTo>
                  <a:lnTo>
                    <a:pt x="205" y="197"/>
                  </a:lnTo>
                  <a:lnTo>
                    <a:pt x="207" y="200"/>
                  </a:lnTo>
                  <a:lnTo>
                    <a:pt x="207" y="200"/>
                  </a:lnTo>
                  <a:lnTo>
                    <a:pt x="207" y="200"/>
                  </a:lnTo>
                  <a:lnTo>
                    <a:pt x="207" y="199"/>
                  </a:lnTo>
                  <a:lnTo>
                    <a:pt x="209" y="196"/>
                  </a:lnTo>
                  <a:lnTo>
                    <a:pt x="210" y="193"/>
                  </a:lnTo>
                  <a:lnTo>
                    <a:pt x="211" y="192"/>
                  </a:lnTo>
                  <a:lnTo>
                    <a:pt x="213" y="192"/>
                  </a:lnTo>
                  <a:lnTo>
                    <a:pt x="213" y="192"/>
                  </a:lnTo>
                  <a:lnTo>
                    <a:pt x="214" y="193"/>
                  </a:lnTo>
                  <a:lnTo>
                    <a:pt x="216" y="193"/>
                  </a:lnTo>
                  <a:lnTo>
                    <a:pt x="216" y="197"/>
                  </a:lnTo>
                  <a:lnTo>
                    <a:pt x="216" y="200"/>
                  </a:lnTo>
                  <a:lnTo>
                    <a:pt x="216" y="202"/>
                  </a:lnTo>
                  <a:lnTo>
                    <a:pt x="217" y="202"/>
                  </a:lnTo>
                  <a:lnTo>
                    <a:pt x="217" y="202"/>
                  </a:lnTo>
                  <a:lnTo>
                    <a:pt x="220" y="203"/>
                  </a:lnTo>
                  <a:lnTo>
                    <a:pt x="223" y="209"/>
                  </a:lnTo>
                  <a:lnTo>
                    <a:pt x="225" y="216"/>
                  </a:lnTo>
                  <a:lnTo>
                    <a:pt x="225" y="222"/>
                  </a:lnTo>
                  <a:lnTo>
                    <a:pt x="225" y="222"/>
                  </a:lnTo>
                  <a:lnTo>
                    <a:pt x="236" y="232"/>
                  </a:lnTo>
                  <a:lnTo>
                    <a:pt x="243" y="242"/>
                  </a:lnTo>
                  <a:lnTo>
                    <a:pt x="243" y="242"/>
                  </a:lnTo>
                  <a:lnTo>
                    <a:pt x="245" y="243"/>
                  </a:lnTo>
                  <a:lnTo>
                    <a:pt x="246" y="243"/>
                  </a:lnTo>
                  <a:lnTo>
                    <a:pt x="253" y="242"/>
                  </a:lnTo>
                  <a:lnTo>
                    <a:pt x="260" y="241"/>
                  </a:lnTo>
                  <a:lnTo>
                    <a:pt x="264" y="241"/>
                  </a:lnTo>
                  <a:lnTo>
                    <a:pt x="264" y="241"/>
                  </a:lnTo>
                  <a:lnTo>
                    <a:pt x="280" y="242"/>
                  </a:lnTo>
                  <a:lnTo>
                    <a:pt x="295" y="242"/>
                  </a:lnTo>
                  <a:lnTo>
                    <a:pt x="295" y="242"/>
                  </a:lnTo>
                  <a:lnTo>
                    <a:pt x="299" y="243"/>
                  </a:lnTo>
                  <a:lnTo>
                    <a:pt x="302" y="246"/>
                  </a:lnTo>
                  <a:lnTo>
                    <a:pt x="305" y="249"/>
                  </a:lnTo>
                  <a:lnTo>
                    <a:pt x="307" y="252"/>
                  </a:lnTo>
                  <a:lnTo>
                    <a:pt x="307" y="252"/>
                  </a:lnTo>
                  <a:lnTo>
                    <a:pt x="310" y="253"/>
                  </a:lnTo>
                  <a:lnTo>
                    <a:pt x="311" y="257"/>
                  </a:lnTo>
                  <a:lnTo>
                    <a:pt x="311" y="266"/>
                  </a:lnTo>
                  <a:lnTo>
                    <a:pt x="311" y="266"/>
                  </a:lnTo>
                  <a:lnTo>
                    <a:pt x="313" y="270"/>
                  </a:lnTo>
                  <a:lnTo>
                    <a:pt x="316" y="274"/>
                  </a:lnTo>
                  <a:lnTo>
                    <a:pt x="318" y="278"/>
                  </a:lnTo>
                  <a:lnTo>
                    <a:pt x="320" y="282"/>
                  </a:lnTo>
                  <a:lnTo>
                    <a:pt x="320" y="282"/>
                  </a:lnTo>
                  <a:lnTo>
                    <a:pt x="321" y="284"/>
                  </a:lnTo>
                  <a:lnTo>
                    <a:pt x="321" y="285"/>
                  </a:lnTo>
                  <a:lnTo>
                    <a:pt x="325" y="285"/>
                  </a:lnTo>
                  <a:lnTo>
                    <a:pt x="334" y="286"/>
                  </a:lnTo>
                  <a:lnTo>
                    <a:pt x="334" y="286"/>
                  </a:lnTo>
                  <a:lnTo>
                    <a:pt x="342" y="289"/>
                  </a:lnTo>
                  <a:lnTo>
                    <a:pt x="345" y="290"/>
                  </a:lnTo>
                  <a:lnTo>
                    <a:pt x="346" y="293"/>
                  </a:lnTo>
                  <a:lnTo>
                    <a:pt x="346" y="293"/>
                  </a:lnTo>
                  <a:lnTo>
                    <a:pt x="348" y="296"/>
                  </a:lnTo>
                  <a:lnTo>
                    <a:pt x="350" y="296"/>
                  </a:lnTo>
                  <a:lnTo>
                    <a:pt x="353" y="295"/>
                  </a:lnTo>
                  <a:lnTo>
                    <a:pt x="354" y="292"/>
                  </a:lnTo>
                  <a:lnTo>
                    <a:pt x="354" y="292"/>
                  </a:lnTo>
                  <a:lnTo>
                    <a:pt x="356" y="289"/>
                  </a:lnTo>
                  <a:lnTo>
                    <a:pt x="359" y="285"/>
                  </a:lnTo>
                  <a:lnTo>
                    <a:pt x="364" y="282"/>
                  </a:lnTo>
                  <a:lnTo>
                    <a:pt x="370" y="279"/>
                  </a:lnTo>
                  <a:lnTo>
                    <a:pt x="370" y="279"/>
                  </a:lnTo>
                  <a:lnTo>
                    <a:pt x="375" y="278"/>
                  </a:lnTo>
                  <a:lnTo>
                    <a:pt x="379" y="278"/>
                  </a:lnTo>
                  <a:lnTo>
                    <a:pt x="379" y="278"/>
                  </a:lnTo>
                  <a:lnTo>
                    <a:pt x="382" y="272"/>
                  </a:lnTo>
                  <a:lnTo>
                    <a:pt x="384" y="270"/>
                  </a:lnTo>
                  <a:lnTo>
                    <a:pt x="384" y="270"/>
                  </a:lnTo>
                  <a:lnTo>
                    <a:pt x="389" y="266"/>
                  </a:lnTo>
                  <a:lnTo>
                    <a:pt x="392" y="263"/>
                  </a:lnTo>
                  <a:lnTo>
                    <a:pt x="393" y="259"/>
                  </a:lnTo>
                  <a:lnTo>
                    <a:pt x="393" y="259"/>
                  </a:lnTo>
                  <a:lnTo>
                    <a:pt x="395" y="257"/>
                  </a:lnTo>
                  <a:lnTo>
                    <a:pt x="396" y="256"/>
                  </a:lnTo>
                  <a:lnTo>
                    <a:pt x="402" y="256"/>
                  </a:lnTo>
                  <a:lnTo>
                    <a:pt x="409" y="256"/>
                  </a:lnTo>
                  <a:lnTo>
                    <a:pt x="416" y="259"/>
                  </a:lnTo>
                  <a:lnTo>
                    <a:pt x="416" y="259"/>
                  </a:lnTo>
                  <a:lnTo>
                    <a:pt x="421" y="261"/>
                  </a:lnTo>
                  <a:lnTo>
                    <a:pt x="425" y="261"/>
                  </a:lnTo>
                  <a:lnTo>
                    <a:pt x="428" y="260"/>
                  </a:lnTo>
                  <a:lnTo>
                    <a:pt x="429" y="256"/>
                  </a:lnTo>
                  <a:lnTo>
                    <a:pt x="429" y="256"/>
                  </a:lnTo>
                  <a:lnTo>
                    <a:pt x="429" y="254"/>
                  </a:lnTo>
                  <a:lnTo>
                    <a:pt x="431" y="252"/>
                  </a:lnTo>
                  <a:lnTo>
                    <a:pt x="436" y="250"/>
                  </a:lnTo>
                  <a:lnTo>
                    <a:pt x="441" y="249"/>
                  </a:lnTo>
                  <a:lnTo>
                    <a:pt x="445" y="250"/>
                  </a:lnTo>
                  <a:lnTo>
                    <a:pt x="445" y="250"/>
                  </a:lnTo>
                  <a:lnTo>
                    <a:pt x="454" y="254"/>
                  </a:lnTo>
                  <a:lnTo>
                    <a:pt x="461" y="256"/>
                  </a:lnTo>
                  <a:lnTo>
                    <a:pt x="466" y="256"/>
                  </a:lnTo>
                  <a:lnTo>
                    <a:pt x="466" y="256"/>
                  </a:lnTo>
                  <a:lnTo>
                    <a:pt x="474" y="254"/>
                  </a:lnTo>
                  <a:lnTo>
                    <a:pt x="485" y="256"/>
                  </a:lnTo>
                  <a:lnTo>
                    <a:pt x="506" y="259"/>
                  </a:lnTo>
                  <a:lnTo>
                    <a:pt x="506" y="259"/>
                  </a:lnTo>
                  <a:lnTo>
                    <a:pt x="510" y="259"/>
                  </a:lnTo>
                  <a:lnTo>
                    <a:pt x="514" y="259"/>
                  </a:lnTo>
                  <a:lnTo>
                    <a:pt x="517" y="259"/>
                  </a:lnTo>
                  <a:lnTo>
                    <a:pt x="521" y="263"/>
                  </a:lnTo>
                  <a:lnTo>
                    <a:pt x="521" y="263"/>
                  </a:lnTo>
                  <a:lnTo>
                    <a:pt x="524" y="264"/>
                  </a:lnTo>
                  <a:lnTo>
                    <a:pt x="527" y="266"/>
                  </a:lnTo>
                  <a:lnTo>
                    <a:pt x="531" y="266"/>
                  </a:lnTo>
                  <a:lnTo>
                    <a:pt x="534" y="267"/>
                  </a:lnTo>
                  <a:lnTo>
                    <a:pt x="534" y="267"/>
                  </a:lnTo>
                  <a:lnTo>
                    <a:pt x="534" y="261"/>
                  </a:lnTo>
                  <a:lnTo>
                    <a:pt x="534" y="261"/>
                  </a:lnTo>
                  <a:lnTo>
                    <a:pt x="535" y="257"/>
                  </a:lnTo>
                  <a:lnTo>
                    <a:pt x="538" y="254"/>
                  </a:lnTo>
                  <a:lnTo>
                    <a:pt x="541" y="252"/>
                  </a:lnTo>
                  <a:lnTo>
                    <a:pt x="542" y="249"/>
                  </a:lnTo>
                  <a:lnTo>
                    <a:pt x="542" y="249"/>
                  </a:lnTo>
                  <a:lnTo>
                    <a:pt x="542" y="245"/>
                  </a:lnTo>
                  <a:lnTo>
                    <a:pt x="539" y="241"/>
                  </a:lnTo>
                  <a:lnTo>
                    <a:pt x="536" y="235"/>
                  </a:lnTo>
                  <a:lnTo>
                    <a:pt x="536" y="232"/>
                  </a:lnTo>
                  <a:lnTo>
                    <a:pt x="536" y="232"/>
                  </a:lnTo>
                  <a:lnTo>
                    <a:pt x="535" y="224"/>
                  </a:lnTo>
                  <a:lnTo>
                    <a:pt x="534" y="221"/>
                  </a:lnTo>
                  <a:lnTo>
                    <a:pt x="532" y="218"/>
                  </a:lnTo>
                  <a:lnTo>
                    <a:pt x="532" y="218"/>
                  </a:lnTo>
                  <a:lnTo>
                    <a:pt x="532" y="217"/>
                  </a:lnTo>
                  <a:lnTo>
                    <a:pt x="532" y="217"/>
                  </a:lnTo>
                  <a:lnTo>
                    <a:pt x="535" y="214"/>
                  </a:lnTo>
                  <a:lnTo>
                    <a:pt x="542" y="211"/>
                  </a:lnTo>
                  <a:lnTo>
                    <a:pt x="542" y="211"/>
                  </a:lnTo>
                  <a:lnTo>
                    <a:pt x="546" y="211"/>
                  </a:lnTo>
                  <a:lnTo>
                    <a:pt x="550" y="210"/>
                  </a:lnTo>
                  <a:lnTo>
                    <a:pt x="553" y="209"/>
                  </a:lnTo>
                  <a:lnTo>
                    <a:pt x="556" y="209"/>
                  </a:lnTo>
                  <a:lnTo>
                    <a:pt x="556" y="209"/>
                  </a:lnTo>
                  <a:lnTo>
                    <a:pt x="561" y="211"/>
                  </a:lnTo>
                  <a:lnTo>
                    <a:pt x="567" y="211"/>
                  </a:lnTo>
                  <a:lnTo>
                    <a:pt x="567" y="211"/>
                  </a:lnTo>
                  <a:lnTo>
                    <a:pt x="570" y="211"/>
                  </a:lnTo>
                  <a:lnTo>
                    <a:pt x="570" y="209"/>
                  </a:lnTo>
                  <a:lnTo>
                    <a:pt x="568" y="207"/>
                  </a:lnTo>
                  <a:lnTo>
                    <a:pt x="567" y="204"/>
                  </a:lnTo>
                  <a:lnTo>
                    <a:pt x="567" y="204"/>
                  </a:lnTo>
                  <a:lnTo>
                    <a:pt x="567" y="203"/>
                  </a:lnTo>
                  <a:lnTo>
                    <a:pt x="567" y="200"/>
                  </a:lnTo>
                  <a:lnTo>
                    <a:pt x="571" y="192"/>
                  </a:lnTo>
                  <a:lnTo>
                    <a:pt x="577" y="174"/>
                  </a:lnTo>
                  <a:lnTo>
                    <a:pt x="577" y="174"/>
                  </a:lnTo>
                  <a:lnTo>
                    <a:pt x="578" y="171"/>
                  </a:lnTo>
                  <a:lnTo>
                    <a:pt x="581" y="171"/>
                  </a:lnTo>
                  <a:lnTo>
                    <a:pt x="584" y="174"/>
                  </a:lnTo>
                  <a:lnTo>
                    <a:pt x="588" y="174"/>
                  </a:lnTo>
                  <a:lnTo>
                    <a:pt x="588" y="174"/>
                  </a:lnTo>
                  <a:lnTo>
                    <a:pt x="595" y="175"/>
                  </a:lnTo>
                  <a:lnTo>
                    <a:pt x="602" y="175"/>
                  </a:lnTo>
                  <a:lnTo>
                    <a:pt x="602" y="175"/>
                  </a:lnTo>
                  <a:lnTo>
                    <a:pt x="606" y="177"/>
                  </a:lnTo>
                  <a:lnTo>
                    <a:pt x="610" y="175"/>
                  </a:lnTo>
                  <a:lnTo>
                    <a:pt x="614" y="173"/>
                  </a:lnTo>
                  <a:lnTo>
                    <a:pt x="617" y="170"/>
                  </a:lnTo>
                  <a:lnTo>
                    <a:pt x="617" y="170"/>
                  </a:lnTo>
                  <a:lnTo>
                    <a:pt x="617" y="168"/>
                  </a:lnTo>
                  <a:lnTo>
                    <a:pt x="616" y="166"/>
                  </a:lnTo>
                  <a:lnTo>
                    <a:pt x="616" y="163"/>
                  </a:lnTo>
                  <a:lnTo>
                    <a:pt x="614" y="157"/>
                  </a:lnTo>
                  <a:lnTo>
                    <a:pt x="614" y="157"/>
                  </a:lnTo>
                  <a:lnTo>
                    <a:pt x="616" y="153"/>
                  </a:lnTo>
                  <a:lnTo>
                    <a:pt x="618" y="149"/>
                  </a:lnTo>
                  <a:lnTo>
                    <a:pt x="621" y="146"/>
                  </a:lnTo>
                  <a:lnTo>
                    <a:pt x="625" y="146"/>
                  </a:lnTo>
                  <a:lnTo>
                    <a:pt x="625" y="146"/>
                  </a:lnTo>
                  <a:lnTo>
                    <a:pt x="628" y="145"/>
                  </a:lnTo>
                  <a:lnTo>
                    <a:pt x="629" y="143"/>
                  </a:lnTo>
                  <a:lnTo>
                    <a:pt x="631" y="141"/>
                  </a:lnTo>
                  <a:lnTo>
                    <a:pt x="631" y="138"/>
                  </a:lnTo>
                  <a:lnTo>
                    <a:pt x="631" y="138"/>
                  </a:lnTo>
                  <a:lnTo>
                    <a:pt x="632" y="135"/>
                  </a:lnTo>
                  <a:lnTo>
                    <a:pt x="634" y="132"/>
                  </a:lnTo>
                  <a:lnTo>
                    <a:pt x="635" y="131"/>
                  </a:lnTo>
                  <a:lnTo>
                    <a:pt x="636" y="127"/>
                  </a:lnTo>
                  <a:lnTo>
                    <a:pt x="636" y="127"/>
                  </a:lnTo>
                  <a:lnTo>
                    <a:pt x="635" y="124"/>
                  </a:lnTo>
                  <a:lnTo>
                    <a:pt x="634" y="121"/>
                  </a:lnTo>
                  <a:lnTo>
                    <a:pt x="634" y="121"/>
                  </a:lnTo>
                  <a:close/>
                  <a:moveTo>
                    <a:pt x="238" y="189"/>
                  </a:moveTo>
                  <a:lnTo>
                    <a:pt x="238" y="189"/>
                  </a:lnTo>
                  <a:lnTo>
                    <a:pt x="234" y="191"/>
                  </a:lnTo>
                  <a:lnTo>
                    <a:pt x="227" y="189"/>
                  </a:lnTo>
                  <a:lnTo>
                    <a:pt x="220" y="186"/>
                  </a:lnTo>
                  <a:lnTo>
                    <a:pt x="216" y="184"/>
                  </a:lnTo>
                  <a:lnTo>
                    <a:pt x="216" y="184"/>
                  </a:lnTo>
                  <a:lnTo>
                    <a:pt x="216" y="182"/>
                  </a:lnTo>
                  <a:lnTo>
                    <a:pt x="218" y="182"/>
                  </a:lnTo>
                  <a:lnTo>
                    <a:pt x="227" y="182"/>
                  </a:lnTo>
                  <a:lnTo>
                    <a:pt x="235" y="185"/>
                  </a:lnTo>
                  <a:lnTo>
                    <a:pt x="238" y="188"/>
                  </a:lnTo>
                  <a:lnTo>
                    <a:pt x="238" y="189"/>
                  </a:lnTo>
                  <a:lnTo>
                    <a:pt x="238" y="189"/>
                  </a:lnTo>
                  <a:close/>
                  <a:moveTo>
                    <a:pt x="500" y="188"/>
                  </a:moveTo>
                  <a:lnTo>
                    <a:pt x="500" y="188"/>
                  </a:lnTo>
                  <a:lnTo>
                    <a:pt x="488" y="186"/>
                  </a:lnTo>
                  <a:lnTo>
                    <a:pt x="473" y="186"/>
                  </a:lnTo>
                  <a:lnTo>
                    <a:pt x="466" y="186"/>
                  </a:lnTo>
                  <a:lnTo>
                    <a:pt x="459" y="188"/>
                  </a:lnTo>
                  <a:lnTo>
                    <a:pt x="452" y="189"/>
                  </a:lnTo>
                  <a:lnTo>
                    <a:pt x="448" y="193"/>
                  </a:lnTo>
                  <a:lnTo>
                    <a:pt x="448" y="193"/>
                  </a:lnTo>
                  <a:lnTo>
                    <a:pt x="443" y="197"/>
                  </a:lnTo>
                  <a:lnTo>
                    <a:pt x="442" y="202"/>
                  </a:lnTo>
                  <a:lnTo>
                    <a:pt x="441" y="209"/>
                  </a:lnTo>
                  <a:lnTo>
                    <a:pt x="441" y="211"/>
                  </a:lnTo>
                  <a:lnTo>
                    <a:pt x="441" y="213"/>
                  </a:lnTo>
                  <a:lnTo>
                    <a:pt x="439" y="214"/>
                  </a:lnTo>
                  <a:lnTo>
                    <a:pt x="439" y="214"/>
                  </a:lnTo>
                  <a:lnTo>
                    <a:pt x="436" y="213"/>
                  </a:lnTo>
                  <a:lnTo>
                    <a:pt x="435" y="211"/>
                  </a:lnTo>
                  <a:lnTo>
                    <a:pt x="434" y="203"/>
                  </a:lnTo>
                  <a:lnTo>
                    <a:pt x="434" y="195"/>
                  </a:lnTo>
                  <a:lnTo>
                    <a:pt x="435" y="191"/>
                  </a:lnTo>
                  <a:lnTo>
                    <a:pt x="436" y="188"/>
                  </a:lnTo>
                  <a:lnTo>
                    <a:pt x="436" y="188"/>
                  </a:lnTo>
                  <a:lnTo>
                    <a:pt x="439" y="186"/>
                  </a:lnTo>
                  <a:lnTo>
                    <a:pt x="443" y="184"/>
                  </a:lnTo>
                  <a:lnTo>
                    <a:pt x="454" y="181"/>
                  </a:lnTo>
                  <a:lnTo>
                    <a:pt x="466" y="181"/>
                  </a:lnTo>
                  <a:lnTo>
                    <a:pt x="477" y="182"/>
                  </a:lnTo>
                  <a:lnTo>
                    <a:pt x="477" y="182"/>
                  </a:lnTo>
                  <a:lnTo>
                    <a:pt x="488" y="184"/>
                  </a:lnTo>
                  <a:lnTo>
                    <a:pt x="500" y="182"/>
                  </a:lnTo>
                  <a:lnTo>
                    <a:pt x="510" y="181"/>
                  </a:lnTo>
                  <a:lnTo>
                    <a:pt x="517" y="181"/>
                  </a:lnTo>
                  <a:lnTo>
                    <a:pt x="517" y="181"/>
                  </a:lnTo>
                  <a:lnTo>
                    <a:pt x="517" y="181"/>
                  </a:lnTo>
                  <a:lnTo>
                    <a:pt x="517" y="182"/>
                  </a:lnTo>
                  <a:lnTo>
                    <a:pt x="514" y="184"/>
                  </a:lnTo>
                  <a:lnTo>
                    <a:pt x="509" y="186"/>
                  </a:lnTo>
                  <a:lnTo>
                    <a:pt x="500" y="188"/>
                  </a:lnTo>
                  <a:lnTo>
                    <a:pt x="500" y="18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46" name="Freeform 162"/>
            <p:cNvSpPr>
              <a:spLocks noEditPoints="1"/>
            </p:cNvSpPr>
            <p:nvPr/>
          </p:nvSpPr>
          <p:spPr bwMode="auto">
            <a:xfrm>
              <a:off x="5073651" y="1271588"/>
              <a:ext cx="4241800" cy="1622425"/>
            </a:xfrm>
            <a:custGeom>
              <a:avLst/>
              <a:gdLst>
                <a:gd name="T0" fmla="*/ 722 w 2672"/>
                <a:gd name="T1" fmla="*/ 14 h 1022"/>
                <a:gd name="T2" fmla="*/ 1202 w 2672"/>
                <a:gd name="T3" fmla="*/ 50 h 1022"/>
                <a:gd name="T4" fmla="*/ 1205 w 2672"/>
                <a:gd name="T5" fmla="*/ 42 h 1022"/>
                <a:gd name="T6" fmla="*/ 1920 w 2672"/>
                <a:gd name="T7" fmla="*/ 210 h 1022"/>
                <a:gd name="T8" fmla="*/ 2028 w 2672"/>
                <a:gd name="T9" fmla="*/ 218 h 1022"/>
                <a:gd name="T10" fmla="*/ 1334 w 2672"/>
                <a:gd name="T11" fmla="*/ 104 h 1022"/>
                <a:gd name="T12" fmla="*/ 2546 w 2672"/>
                <a:gd name="T13" fmla="*/ 338 h 1022"/>
                <a:gd name="T14" fmla="*/ 1927 w 2672"/>
                <a:gd name="T15" fmla="*/ 782 h 1022"/>
                <a:gd name="T16" fmla="*/ 1925 w 2672"/>
                <a:gd name="T17" fmla="*/ 869 h 1022"/>
                <a:gd name="T18" fmla="*/ 2514 w 2672"/>
                <a:gd name="T19" fmla="*/ 407 h 1022"/>
                <a:gd name="T20" fmla="*/ 2302 w 2672"/>
                <a:gd name="T21" fmla="*/ 392 h 1022"/>
                <a:gd name="T22" fmla="*/ 2018 w 2672"/>
                <a:gd name="T23" fmla="*/ 324 h 1022"/>
                <a:gd name="T24" fmla="*/ 1866 w 2672"/>
                <a:gd name="T25" fmla="*/ 304 h 1022"/>
                <a:gd name="T26" fmla="*/ 1749 w 2672"/>
                <a:gd name="T27" fmla="*/ 340 h 1022"/>
                <a:gd name="T28" fmla="*/ 1644 w 2672"/>
                <a:gd name="T29" fmla="*/ 268 h 1022"/>
                <a:gd name="T30" fmla="*/ 1456 w 2672"/>
                <a:gd name="T31" fmla="*/ 278 h 1022"/>
                <a:gd name="T32" fmla="*/ 1413 w 2672"/>
                <a:gd name="T33" fmla="*/ 240 h 1022"/>
                <a:gd name="T34" fmla="*/ 1359 w 2672"/>
                <a:gd name="T35" fmla="*/ 177 h 1022"/>
                <a:gd name="T36" fmla="*/ 1224 w 2672"/>
                <a:gd name="T37" fmla="*/ 184 h 1022"/>
                <a:gd name="T38" fmla="*/ 1063 w 2672"/>
                <a:gd name="T39" fmla="*/ 221 h 1022"/>
                <a:gd name="T40" fmla="*/ 970 w 2672"/>
                <a:gd name="T41" fmla="*/ 270 h 1022"/>
                <a:gd name="T42" fmla="*/ 931 w 2672"/>
                <a:gd name="T43" fmla="*/ 343 h 1022"/>
                <a:gd name="T44" fmla="*/ 869 w 2672"/>
                <a:gd name="T45" fmla="*/ 400 h 1022"/>
                <a:gd name="T46" fmla="*/ 834 w 2672"/>
                <a:gd name="T47" fmla="*/ 474 h 1022"/>
                <a:gd name="T48" fmla="*/ 852 w 2672"/>
                <a:gd name="T49" fmla="*/ 418 h 1022"/>
                <a:gd name="T50" fmla="*/ 754 w 2672"/>
                <a:gd name="T51" fmla="*/ 365 h 1022"/>
                <a:gd name="T52" fmla="*/ 645 w 2672"/>
                <a:gd name="T53" fmla="*/ 386 h 1022"/>
                <a:gd name="T54" fmla="*/ 518 w 2672"/>
                <a:gd name="T55" fmla="*/ 417 h 1022"/>
                <a:gd name="T56" fmla="*/ 380 w 2672"/>
                <a:gd name="T57" fmla="*/ 415 h 1022"/>
                <a:gd name="T58" fmla="*/ 273 w 2672"/>
                <a:gd name="T59" fmla="*/ 499 h 1022"/>
                <a:gd name="T60" fmla="*/ 200 w 2672"/>
                <a:gd name="T61" fmla="*/ 447 h 1022"/>
                <a:gd name="T62" fmla="*/ 209 w 2672"/>
                <a:gd name="T63" fmla="*/ 381 h 1022"/>
                <a:gd name="T64" fmla="*/ 157 w 2672"/>
                <a:gd name="T65" fmla="*/ 492 h 1022"/>
                <a:gd name="T66" fmla="*/ 147 w 2672"/>
                <a:gd name="T67" fmla="*/ 629 h 1022"/>
                <a:gd name="T68" fmla="*/ 194 w 2672"/>
                <a:gd name="T69" fmla="*/ 767 h 1022"/>
                <a:gd name="T70" fmla="*/ 297 w 2672"/>
                <a:gd name="T71" fmla="*/ 851 h 1022"/>
                <a:gd name="T72" fmla="*/ 271 w 2672"/>
                <a:gd name="T73" fmla="*/ 947 h 1022"/>
                <a:gd name="T74" fmla="*/ 426 w 2672"/>
                <a:gd name="T75" fmla="*/ 961 h 1022"/>
                <a:gd name="T76" fmla="*/ 457 w 2672"/>
                <a:gd name="T77" fmla="*/ 836 h 1022"/>
                <a:gd name="T78" fmla="*/ 637 w 2672"/>
                <a:gd name="T79" fmla="*/ 833 h 1022"/>
                <a:gd name="T80" fmla="*/ 772 w 2672"/>
                <a:gd name="T81" fmla="*/ 742 h 1022"/>
                <a:gd name="T82" fmla="*/ 902 w 2672"/>
                <a:gd name="T83" fmla="*/ 761 h 1022"/>
                <a:gd name="T84" fmla="*/ 1088 w 2672"/>
                <a:gd name="T85" fmla="*/ 861 h 1022"/>
                <a:gd name="T86" fmla="*/ 1258 w 2672"/>
                <a:gd name="T87" fmla="*/ 816 h 1022"/>
                <a:gd name="T88" fmla="*/ 1474 w 2672"/>
                <a:gd name="T89" fmla="*/ 847 h 1022"/>
                <a:gd name="T90" fmla="*/ 1660 w 2672"/>
                <a:gd name="T91" fmla="*/ 807 h 1022"/>
                <a:gd name="T92" fmla="*/ 1764 w 2672"/>
                <a:gd name="T93" fmla="*/ 946 h 1022"/>
                <a:gd name="T94" fmla="*/ 1896 w 2672"/>
                <a:gd name="T95" fmla="*/ 793 h 1022"/>
                <a:gd name="T96" fmla="*/ 1819 w 2672"/>
                <a:gd name="T97" fmla="*/ 733 h 1022"/>
                <a:gd name="T98" fmla="*/ 2055 w 2672"/>
                <a:gd name="T99" fmla="*/ 660 h 1022"/>
                <a:gd name="T100" fmla="*/ 2195 w 2672"/>
                <a:gd name="T101" fmla="*/ 615 h 1022"/>
                <a:gd name="T102" fmla="*/ 2142 w 2672"/>
                <a:gd name="T103" fmla="*/ 685 h 1022"/>
                <a:gd name="T104" fmla="*/ 2228 w 2672"/>
                <a:gd name="T105" fmla="*/ 723 h 1022"/>
                <a:gd name="T106" fmla="*/ 2349 w 2672"/>
                <a:gd name="T107" fmla="*/ 626 h 1022"/>
                <a:gd name="T108" fmla="*/ 2454 w 2672"/>
                <a:gd name="T109" fmla="*/ 519 h 1022"/>
                <a:gd name="T110" fmla="*/ 2592 w 2672"/>
                <a:gd name="T111" fmla="*/ 519 h 1022"/>
                <a:gd name="T112" fmla="*/ 2670 w 2672"/>
                <a:gd name="T113" fmla="*/ 482 h 1022"/>
                <a:gd name="T114" fmla="*/ 457 w 2672"/>
                <a:gd name="T115" fmla="*/ 34 h 1022"/>
                <a:gd name="T116" fmla="*/ 582 w 2672"/>
                <a:gd name="T117" fmla="*/ 11 h 1022"/>
                <a:gd name="T118" fmla="*/ 520 w 2672"/>
                <a:gd name="T119" fmla="*/ 288 h 1022"/>
                <a:gd name="T120" fmla="*/ 576 w 2672"/>
                <a:gd name="T121" fmla="*/ 290 h 1022"/>
                <a:gd name="T122" fmla="*/ 666 w 2672"/>
                <a:gd name="T123" fmla="*/ 181 h 1022"/>
                <a:gd name="T124" fmla="*/ 538 w 2672"/>
                <a:gd name="T125" fmla="*/ 45 h 1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72" h="1022">
                  <a:moveTo>
                    <a:pt x="41" y="740"/>
                  </a:moveTo>
                  <a:lnTo>
                    <a:pt x="41" y="740"/>
                  </a:lnTo>
                  <a:lnTo>
                    <a:pt x="39" y="740"/>
                  </a:lnTo>
                  <a:lnTo>
                    <a:pt x="36" y="739"/>
                  </a:lnTo>
                  <a:lnTo>
                    <a:pt x="32" y="736"/>
                  </a:lnTo>
                  <a:lnTo>
                    <a:pt x="32" y="736"/>
                  </a:lnTo>
                  <a:lnTo>
                    <a:pt x="30" y="735"/>
                  </a:lnTo>
                  <a:lnTo>
                    <a:pt x="28" y="735"/>
                  </a:lnTo>
                  <a:lnTo>
                    <a:pt x="22" y="736"/>
                  </a:lnTo>
                  <a:lnTo>
                    <a:pt x="22" y="736"/>
                  </a:lnTo>
                  <a:lnTo>
                    <a:pt x="25" y="737"/>
                  </a:lnTo>
                  <a:lnTo>
                    <a:pt x="25" y="737"/>
                  </a:lnTo>
                  <a:lnTo>
                    <a:pt x="25" y="739"/>
                  </a:lnTo>
                  <a:lnTo>
                    <a:pt x="23" y="740"/>
                  </a:lnTo>
                  <a:lnTo>
                    <a:pt x="22" y="742"/>
                  </a:lnTo>
                  <a:lnTo>
                    <a:pt x="19" y="743"/>
                  </a:lnTo>
                  <a:lnTo>
                    <a:pt x="19" y="744"/>
                  </a:lnTo>
                  <a:lnTo>
                    <a:pt x="19" y="746"/>
                  </a:lnTo>
                  <a:lnTo>
                    <a:pt x="19" y="746"/>
                  </a:lnTo>
                  <a:lnTo>
                    <a:pt x="19" y="747"/>
                  </a:lnTo>
                  <a:lnTo>
                    <a:pt x="19" y="748"/>
                  </a:lnTo>
                  <a:lnTo>
                    <a:pt x="16" y="750"/>
                  </a:lnTo>
                  <a:lnTo>
                    <a:pt x="14" y="748"/>
                  </a:lnTo>
                  <a:lnTo>
                    <a:pt x="12" y="747"/>
                  </a:lnTo>
                  <a:lnTo>
                    <a:pt x="12" y="746"/>
                  </a:lnTo>
                  <a:lnTo>
                    <a:pt x="12" y="746"/>
                  </a:lnTo>
                  <a:lnTo>
                    <a:pt x="11" y="744"/>
                  </a:lnTo>
                  <a:lnTo>
                    <a:pt x="10" y="744"/>
                  </a:lnTo>
                  <a:lnTo>
                    <a:pt x="7" y="744"/>
                  </a:lnTo>
                  <a:lnTo>
                    <a:pt x="3" y="744"/>
                  </a:lnTo>
                  <a:lnTo>
                    <a:pt x="1" y="747"/>
                  </a:lnTo>
                  <a:lnTo>
                    <a:pt x="1" y="747"/>
                  </a:lnTo>
                  <a:lnTo>
                    <a:pt x="0" y="751"/>
                  </a:lnTo>
                  <a:lnTo>
                    <a:pt x="0" y="751"/>
                  </a:lnTo>
                  <a:lnTo>
                    <a:pt x="8" y="754"/>
                  </a:lnTo>
                  <a:lnTo>
                    <a:pt x="8" y="754"/>
                  </a:lnTo>
                  <a:lnTo>
                    <a:pt x="25" y="755"/>
                  </a:lnTo>
                  <a:lnTo>
                    <a:pt x="39" y="755"/>
                  </a:lnTo>
                  <a:lnTo>
                    <a:pt x="48" y="755"/>
                  </a:lnTo>
                  <a:lnTo>
                    <a:pt x="48" y="755"/>
                  </a:lnTo>
                  <a:lnTo>
                    <a:pt x="48" y="750"/>
                  </a:lnTo>
                  <a:lnTo>
                    <a:pt x="50" y="744"/>
                  </a:lnTo>
                  <a:lnTo>
                    <a:pt x="50" y="744"/>
                  </a:lnTo>
                  <a:lnTo>
                    <a:pt x="48" y="743"/>
                  </a:lnTo>
                  <a:lnTo>
                    <a:pt x="46" y="740"/>
                  </a:lnTo>
                  <a:lnTo>
                    <a:pt x="43" y="740"/>
                  </a:lnTo>
                  <a:lnTo>
                    <a:pt x="41" y="740"/>
                  </a:lnTo>
                  <a:lnTo>
                    <a:pt x="41" y="740"/>
                  </a:lnTo>
                  <a:close/>
                  <a:moveTo>
                    <a:pt x="1130" y="16"/>
                  </a:moveTo>
                  <a:lnTo>
                    <a:pt x="1130" y="16"/>
                  </a:lnTo>
                  <a:lnTo>
                    <a:pt x="1129" y="13"/>
                  </a:lnTo>
                  <a:lnTo>
                    <a:pt x="1126" y="11"/>
                  </a:lnTo>
                  <a:lnTo>
                    <a:pt x="1117" y="11"/>
                  </a:lnTo>
                  <a:lnTo>
                    <a:pt x="1112" y="11"/>
                  </a:lnTo>
                  <a:lnTo>
                    <a:pt x="1109" y="13"/>
                  </a:lnTo>
                  <a:lnTo>
                    <a:pt x="1108" y="16"/>
                  </a:lnTo>
                  <a:lnTo>
                    <a:pt x="1109" y="18"/>
                  </a:lnTo>
                  <a:lnTo>
                    <a:pt x="1109" y="18"/>
                  </a:lnTo>
                  <a:lnTo>
                    <a:pt x="1113" y="20"/>
                  </a:lnTo>
                  <a:lnTo>
                    <a:pt x="1120" y="20"/>
                  </a:lnTo>
                  <a:lnTo>
                    <a:pt x="1126" y="18"/>
                  </a:lnTo>
                  <a:lnTo>
                    <a:pt x="1129" y="17"/>
                  </a:lnTo>
                  <a:lnTo>
                    <a:pt x="1130" y="16"/>
                  </a:lnTo>
                  <a:lnTo>
                    <a:pt x="1130" y="16"/>
                  </a:lnTo>
                  <a:close/>
                  <a:moveTo>
                    <a:pt x="711" y="27"/>
                  </a:moveTo>
                  <a:lnTo>
                    <a:pt x="711" y="27"/>
                  </a:lnTo>
                  <a:lnTo>
                    <a:pt x="716" y="25"/>
                  </a:lnTo>
                  <a:lnTo>
                    <a:pt x="720" y="24"/>
                  </a:lnTo>
                  <a:lnTo>
                    <a:pt x="723" y="22"/>
                  </a:lnTo>
                  <a:lnTo>
                    <a:pt x="725" y="20"/>
                  </a:lnTo>
                  <a:lnTo>
                    <a:pt x="725" y="18"/>
                  </a:lnTo>
                  <a:lnTo>
                    <a:pt x="723" y="16"/>
                  </a:lnTo>
                  <a:lnTo>
                    <a:pt x="722" y="14"/>
                  </a:lnTo>
                  <a:lnTo>
                    <a:pt x="719" y="14"/>
                  </a:lnTo>
                  <a:lnTo>
                    <a:pt x="719" y="14"/>
                  </a:lnTo>
                  <a:lnTo>
                    <a:pt x="712" y="14"/>
                  </a:lnTo>
                  <a:lnTo>
                    <a:pt x="709" y="16"/>
                  </a:lnTo>
                  <a:lnTo>
                    <a:pt x="706" y="18"/>
                  </a:lnTo>
                  <a:lnTo>
                    <a:pt x="704" y="18"/>
                  </a:lnTo>
                  <a:lnTo>
                    <a:pt x="704" y="18"/>
                  </a:lnTo>
                  <a:lnTo>
                    <a:pt x="698" y="18"/>
                  </a:lnTo>
                  <a:lnTo>
                    <a:pt x="691" y="21"/>
                  </a:lnTo>
                  <a:lnTo>
                    <a:pt x="686" y="22"/>
                  </a:lnTo>
                  <a:lnTo>
                    <a:pt x="684" y="24"/>
                  </a:lnTo>
                  <a:lnTo>
                    <a:pt x="684" y="25"/>
                  </a:lnTo>
                  <a:lnTo>
                    <a:pt x="684" y="25"/>
                  </a:lnTo>
                  <a:lnTo>
                    <a:pt x="687" y="27"/>
                  </a:lnTo>
                  <a:lnTo>
                    <a:pt x="688" y="28"/>
                  </a:lnTo>
                  <a:lnTo>
                    <a:pt x="695" y="28"/>
                  </a:lnTo>
                  <a:lnTo>
                    <a:pt x="711" y="27"/>
                  </a:lnTo>
                  <a:lnTo>
                    <a:pt x="711" y="27"/>
                  </a:lnTo>
                  <a:close/>
                  <a:moveTo>
                    <a:pt x="1166" y="61"/>
                  </a:moveTo>
                  <a:lnTo>
                    <a:pt x="1166" y="61"/>
                  </a:lnTo>
                  <a:lnTo>
                    <a:pt x="1166" y="63"/>
                  </a:lnTo>
                  <a:lnTo>
                    <a:pt x="1165" y="64"/>
                  </a:lnTo>
                  <a:lnTo>
                    <a:pt x="1159" y="68"/>
                  </a:lnTo>
                  <a:lnTo>
                    <a:pt x="1155" y="71"/>
                  </a:lnTo>
                  <a:lnTo>
                    <a:pt x="1155" y="74"/>
                  </a:lnTo>
                  <a:lnTo>
                    <a:pt x="1156" y="75"/>
                  </a:lnTo>
                  <a:lnTo>
                    <a:pt x="1156" y="75"/>
                  </a:lnTo>
                  <a:lnTo>
                    <a:pt x="1159" y="77"/>
                  </a:lnTo>
                  <a:lnTo>
                    <a:pt x="1160" y="77"/>
                  </a:lnTo>
                  <a:lnTo>
                    <a:pt x="1167" y="78"/>
                  </a:lnTo>
                  <a:lnTo>
                    <a:pt x="1167" y="78"/>
                  </a:lnTo>
                  <a:lnTo>
                    <a:pt x="1170" y="81"/>
                  </a:lnTo>
                  <a:lnTo>
                    <a:pt x="1173" y="84"/>
                  </a:lnTo>
                  <a:lnTo>
                    <a:pt x="1177" y="88"/>
                  </a:lnTo>
                  <a:lnTo>
                    <a:pt x="1180" y="89"/>
                  </a:lnTo>
                  <a:lnTo>
                    <a:pt x="1183" y="89"/>
                  </a:lnTo>
                  <a:lnTo>
                    <a:pt x="1183" y="89"/>
                  </a:lnTo>
                  <a:lnTo>
                    <a:pt x="1187" y="88"/>
                  </a:lnTo>
                  <a:lnTo>
                    <a:pt x="1191" y="89"/>
                  </a:lnTo>
                  <a:lnTo>
                    <a:pt x="1203" y="92"/>
                  </a:lnTo>
                  <a:lnTo>
                    <a:pt x="1216" y="96"/>
                  </a:lnTo>
                  <a:lnTo>
                    <a:pt x="1227" y="97"/>
                  </a:lnTo>
                  <a:lnTo>
                    <a:pt x="1227" y="97"/>
                  </a:lnTo>
                  <a:lnTo>
                    <a:pt x="1231" y="97"/>
                  </a:lnTo>
                  <a:lnTo>
                    <a:pt x="1235" y="96"/>
                  </a:lnTo>
                  <a:lnTo>
                    <a:pt x="1237" y="95"/>
                  </a:lnTo>
                  <a:lnTo>
                    <a:pt x="1238" y="92"/>
                  </a:lnTo>
                  <a:lnTo>
                    <a:pt x="1240" y="88"/>
                  </a:lnTo>
                  <a:lnTo>
                    <a:pt x="1238" y="86"/>
                  </a:lnTo>
                  <a:lnTo>
                    <a:pt x="1238" y="86"/>
                  </a:lnTo>
                  <a:lnTo>
                    <a:pt x="1238" y="86"/>
                  </a:lnTo>
                  <a:lnTo>
                    <a:pt x="1237" y="86"/>
                  </a:lnTo>
                  <a:lnTo>
                    <a:pt x="1235" y="85"/>
                  </a:lnTo>
                  <a:lnTo>
                    <a:pt x="1237" y="81"/>
                  </a:lnTo>
                  <a:lnTo>
                    <a:pt x="1245" y="68"/>
                  </a:lnTo>
                  <a:lnTo>
                    <a:pt x="1245" y="68"/>
                  </a:lnTo>
                  <a:lnTo>
                    <a:pt x="1245" y="64"/>
                  </a:lnTo>
                  <a:lnTo>
                    <a:pt x="1244" y="61"/>
                  </a:lnTo>
                  <a:lnTo>
                    <a:pt x="1241" y="59"/>
                  </a:lnTo>
                  <a:lnTo>
                    <a:pt x="1235" y="56"/>
                  </a:lnTo>
                  <a:lnTo>
                    <a:pt x="1231" y="56"/>
                  </a:lnTo>
                  <a:lnTo>
                    <a:pt x="1226" y="54"/>
                  </a:lnTo>
                  <a:lnTo>
                    <a:pt x="1223" y="56"/>
                  </a:lnTo>
                  <a:lnTo>
                    <a:pt x="1222" y="59"/>
                  </a:lnTo>
                  <a:lnTo>
                    <a:pt x="1222" y="59"/>
                  </a:lnTo>
                  <a:lnTo>
                    <a:pt x="1222" y="61"/>
                  </a:lnTo>
                  <a:lnTo>
                    <a:pt x="1220" y="61"/>
                  </a:lnTo>
                  <a:lnTo>
                    <a:pt x="1216" y="60"/>
                  </a:lnTo>
                  <a:lnTo>
                    <a:pt x="1213" y="56"/>
                  </a:lnTo>
                  <a:lnTo>
                    <a:pt x="1210" y="52"/>
                  </a:lnTo>
                  <a:lnTo>
                    <a:pt x="1210" y="52"/>
                  </a:lnTo>
                  <a:lnTo>
                    <a:pt x="1208" y="50"/>
                  </a:lnTo>
                  <a:lnTo>
                    <a:pt x="1202" y="50"/>
                  </a:lnTo>
                  <a:lnTo>
                    <a:pt x="1187" y="52"/>
                  </a:lnTo>
                  <a:lnTo>
                    <a:pt x="1173" y="56"/>
                  </a:lnTo>
                  <a:lnTo>
                    <a:pt x="1167" y="59"/>
                  </a:lnTo>
                  <a:lnTo>
                    <a:pt x="1166" y="61"/>
                  </a:lnTo>
                  <a:lnTo>
                    <a:pt x="1166" y="61"/>
                  </a:lnTo>
                  <a:close/>
                  <a:moveTo>
                    <a:pt x="799" y="285"/>
                  </a:moveTo>
                  <a:lnTo>
                    <a:pt x="799" y="285"/>
                  </a:lnTo>
                  <a:lnTo>
                    <a:pt x="806" y="285"/>
                  </a:lnTo>
                  <a:lnTo>
                    <a:pt x="813" y="283"/>
                  </a:lnTo>
                  <a:lnTo>
                    <a:pt x="820" y="281"/>
                  </a:lnTo>
                  <a:lnTo>
                    <a:pt x="824" y="279"/>
                  </a:lnTo>
                  <a:lnTo>
                    <a:pt x="824" y="279"/>
                  </a:lnTo>
                  <a:lnTo>
                    <a:pt x="824" y="278"/>
                  </a:lnTo>
                  <a:lnTo>
                    <a:pt x="823" y="277"/>
                  </a:lnTo>
                  <a:lnTo>
                    <a:pt x="820" y="274"/>
                  </a:lnTo>
                  <a:lnTo>
                    <a:pt x="815" y="272"/>
                  </a:lnTo>
                  <a:lnTo>
                    <a:pt x="806" y="272"/>
                  </a:lnTo>
                  <a:lnTo>
                    <a:pt x="806" y="272"/>
                  </a:lnTo>
                  <a:lnTo>
                    <a:pt x="804" y="272"/>
                  </a:lnTo>
                  <a:lnTo>
                    <a:pt x="801" y="274"/>
                  </a:lnTo>
                  <a:lnTo>
                    <a:pt x="798" y="275"/>
                  </a:lnTo>
                  <a:lnTo>
                    <a:pt x="797" y="278"/>
                  </a:lnTo>
                  <a:lnTo>
                    <a:pt x="797" y="282"/>
                  </a:lnTo>
                  <a:lnTo>
                    <a:pt x="798" y="283"/>
                  </a:lnTo>
                  <a:lnTo>
                    <a:pt x="799" y="285"/>
                  </a:lnTo>
                  <a:lnTo>
                    <a:pt x="799" y="285"/>
                  </a:lnTo>
                  <a:close/>
                  <a:moveTo>
                    <a:pt x="936" y="292"/>
                  </a:moveTo>
                  <a:lnTo>
                    <a:pt x="936" y="292"/>
                  </a:lnTo>
                  <a:lnTo>
                    <a:pt x="940" y="293"/>
                  </a:lnTo>
                  <a:lnTo>
                    <a:pt x="944" y="293"/>
                  </a:lnTo>
                  <a:lnTo>
                    <a:pt x="947" y="290"/>
                  </a:lnTo>
                  <a:lnTo>
                    <a:pt x="947" y="286"/>
                  </a:lnTo>
                  <a:lnTo>
                    <a:pt x="947" y="286"/>
                  </a:lnTo>
                  <a:lnTo>
                    <a:pt x="945" y="283"/>
                  </a:lnTo>
                  <a:lnTo>
                    <a:pt x="944" y="283"/>
                  </a:lnTo>
                  <a:lnTo>
                    <a:pt x="938" y="285"/>
                  </a:lnTo>
                  <a:lnTo>
                    <a:pt x="934" y="288"/>
                  </a:lnTo>
                  <a:lnTo>
                    <a:pt x="934" y="290"/>
                  </a:lnTo>
                  <a:lnTo>
                    <a:pt x="936" y="292"/>
                  </a:lnTo>
                  <a:lnTo>
                    <a:pt x="936" y="292"/>
                  </a:lnTo>
                  <a:close/>
                  <a:moveTo>
                    <a:pt x="1142" y="47"/>
                  </a:moveTo>
                  <a:lnTo>
                    <a:pt x="1142" y="47"/>
                  </a:lnTo>
                  <a:lnTo>
                    <a:pt x="1147" y="50"/>
                  </a:lnTo>
                  <a:lnTo>
                    <a:pt x="1147" y="52"/>
                  </a:lnTo>
                  <a:lnTo>
                    <a:pt x="1147" y="52"/>
                  </a:lnTo>
                  <a:lnTo>
                    <a:pt x="1144" y="53"/>
                  </a:lnTo>
                  <a:lnTo>
                    <a:pt x="1138" y="54"/>
                  </a:lnTo>
                  <a:lnTo>
                    <a:pt x="1138" y="54"/>
                  </a:lnTo>
                  <a:lnTo>
                    <a:pt x="1131" y="54"/>
                  </a:lnTo>
                  <a:lnTo>
                    <a:pt x="1127" y="56"/>
                  </a:lnTo>
                  <a:lnTo>
                    <a:pt x="1124" y="57"/>
                  </a:lnTo>
                  <a:lnTo>
                    <a:pt x="1126" y="59"/>
                  </a:lnTo>
                  <a:lnTo>
                    <a:pt x="1127" y="60"/>
                  </a:lnTo>
                  <a:lnTo>
                    <a:pt x="1127" y="60"/>
                  </a:lnTo>
                  <a:lnTo>
                    <a:pt x="1130" y="61"/>
                  </a:lnTo>
                  <a:lnTo>
                    <a:pt x="1133" y="64"/>
                  </a:lnTo>
                  <a:lnTo>
                    <a:pt x="1135" y="67"/>
                  </a:lnTo>
                  <a:lnTo>
                    <a:pt x="1141" y="68"/>
                  </a:lnTo>
                  <a:lnTo>
                    <a:pt x="1141" y="68"/>
                  </a:lnTo>
                  <a:lnTo>
                    <a:pt x="1144" y="70"/>
                  </a:lnTo>
                  <a:lnTo>
                    <a:pt x="1148" y="68"/>
                  </a:lnTo>
                  <a:lnTo>
                    <a:pt x="1154" y="66"/>
                  </a:lnTo>
                  <a:lnTo>
                    <a:pt x="1158" y="61"/>
                  </a:lnTo>
                  <a:lnTo>
                    <a:pt x="1159" y="60"/>
                  </a:lnTo>
                  <a:lnTo>
                    <a:pt x="1159" y="57"/>
                  </a:lnTo>
                  <a:lnTo>
                    <a:pt x="1159" y="57"/>
                  </a:lnTo>
                  <a:lnTo>
                    <a:pt x="1160" y="56"/>
                  </a:lnTo>
                  <a:lnTo>
                    <a:pt x="1165" y="53"/>
                  </a:lnTo>
                  <a:lnTo>
                    <a:pt x="1177" y="50"/>
                  </a:lnTo>
                  <a:lnTo>
                    <a:pt x="1202" y="45"/>
                  </a:lnTo>
                  <a:lnTo>
                    <a:pt x="1202" y="45"/>
                  </a:lnTo>
                  <a:lnTo>
                    <a:pt x="1205" y="43"/>
                  </a:lnTo>
                  <a:lnTo>
                    <a:pt x="1205" y="42"/>
                  </a:lnTo>
                  <a:lnTo>
                    <a:pt x="1203" y="38"/>
                  </a:lnTo>
                  <a:lnTo>
                    <a:pt x="1203" y="34"/>
                  </a:lnTo>
                  <a:lnTo>
                    <a:pt x="1203" y="32"/>
                  </a:lnTo>
                  <a:lnTo>
                    <a:pt x="1206" y="32"/>
                  </a:lnTo>
                  <a:lnTo>
                    <a:pt x="1206" y="32"/>
                  </a:lnTo>
                  <a:lnTo>
                    <a:pt x="1212" y="31"/>
                  </a:lnTo>
                  <a:lnTo>
                    <a:pt x="1212" y="29"/>
                  </a:lnTo>
                  <a:lnTo>
                    <a:pt x="1212" y="28"/>
                  </a:lnTo>
                  <a:lnTo>
                    <a:pt x="1208" y="27"/>
                  </a:lnTo>
                  <a:lnTo>
                    <a:pt x="1201" y="24"/>
                  </a:lnTo>
                  <a:lnTo>
                    <a:pt x="1201" y="24"/>
                  </a:lnTo>
                  <a:lnTo>
                    <a:pt x="1197" y="22"/>
                  </a:lnTo>
                  <a:lnTo>
                    <a:pt x="1194" y="21"/>
                  </a:lnTo>
                  <a:lnTo>
                    <a:pt x="1192" y="20"/>
                  </a:lnTo>
                  <a:lnTo>
                    <a:pt x="1191" y="17"/>
                  </a:lnTo>
                  <a:lnTo>
                    <a:pt x="1191" y="11"/>
                  </a:lnTo>
                  <a:lnTo>
                    <a:pt x="1188" y="9"/>
                  </a:lnTo>
                  <a:lnTo>
                    <a:pt x="1188" y="9"/>
                  </a:lnTo>
                  <a:lnTo>
                    <a:pt x="1187" y="7"/>
                  </a:lnTo>
                  <a:lnTo>
                    <a:pt x="1185" y="7"/>
                  </a:lnTo>
                  <a:lnTo>
                    <a:pt x="1181" y="10"/>
                  </a:lnTo>
                  <a:lnTo>
                    <a:pt x="1176" y="13"/>
                  </a:lnTo>
                  <a:lnTo>
                    <a:pt x="1166" y="16"/>
                  </a:lnTo>
                  <a:lnTo>
                    <a:pt x="1166" y="16"/>
                  </a:lnTo>
                  <a:lnTo>
                    <a:pt x="1155" y="18"/>
                  </a:lnTo>
                  <a:lnTo>
                    <a:pt x="1148" y="21"/>
                  </a:lnTo>
                  <a:lnTo>
                    <a:pt x="1147" y="24"/>
                  </a:lnTo>
                  <a:lnTo>
                    <a:pt x="1147" y="25"/>
                  </a:lnTo>
                  <a:lnTo>
                    <a:pt x="1148" y="27"/>
                  </a:lnTo>
                  <a:lnTo>
                    <a:pt x="1148" y="27"/>
                  </a:lnTo>
                  <a:lnTo>
                    <a:pt x="1151" y="28"/>
                  </a:lnTo>
                  <a:lnTo>
                    <a:pt x="1151" y="29"/>
                  </a:lnTo>
                  <a:lnTo>
                    <a:pt x="1149" y="34"/>
                  </a:lnTo>
                  <a:lnTo>
                    <a:pt x="1147" y="36"/>
                  </a:lnTo>
                  <a:lnTo>
                    <a:pt x="1141" y="38"/>
                  </a:lnTo>
                  <a:lnTo>
                    <a:pt x="1141" y="38"/>
                  </a:lnTo>
                  <a:lnTo>
                    <a:pt x="1137" y="38"/>
                  </a:lnTo>
                  <a:lnTo>
                    <a:pt x="1135" y="41"/>
                  </a:lnTo>
                  <a:lnTo>
                    <a:pt x="1137" y="45"/>
                  </a:lnTo>
                  <a:lnTo>
                    <a:pt x="1142" y="47"/>
                  </a:lnTo>
                  <a:lnTo>
                    <a:pt x="1142" y="47"/>
                  </a:lnTo>
                  <a:close/>
                  <a:moveTo>
                    <a:pt x="1835" y="221"/>
                  </a:moveTo>
                  <a:lnTo>
                    <a:pt x="1835" y="221"/>
                  </a:lnTo>
                  <a:lnTo>
                    <a:pt x="1842" y="227"/>
                  </a:lnTo>
                  <a:lnTo>
                    <a:pt x="1848" y="232"/>
                  </a:lnTo>
                  <a:lnTo>
                    <a:pt x="1848" y="232"/>
                  </a:lnTo>
                  <a:lnTo>
                    <a:pt x="1849" y="232"/>
                  </a:lnTo>
                  <a:lnTo>
                    <a:pt x="1852" y="232"/>
                  </a:lnTo>
                  <a:lnTo>
                    <a:pt x="1859" y="232"/>
                  </a:lnTo>
                  <a:lnTo>
                    <a:pt x="1871" y="228"/>
                  </a:lnTo>
                  <a:lnTo>
                    <a:pt x="1871" y="228"/>
                  </a:lnTo>
                  <a:lnTo>
                    <a:pt x="1873" y="228"/>
                  </a:lnTo>
                  <a:lnTo>
                    <a:pt x="1874" y="228"/>
                  </a:lnTo>
                  <a:lnTo>
                    <a:pt x="1877" y="231"/>
                  </a:lnTo>
                  <a:lnTo>
                    <a:pt x="1880" y="232"/>
                  </a:lnTo>
                  <a:lnTo>
                    <a:pt x="1882" y="232"/>
                  </a:lnTo>
                  <a:lnTo>
                    <a:pt x="1885" y="231"/>
                  </a:lnTo>
                  <a:lnTo>
                    <a:pt x="1885" y="231"/>
                  </a:lnTo>
                  <a:lnTo>
                    <a:pt x="1892" y="228"/>
                  </a:lnTo>
                  <a:lnTo>
                    <a:pt x="1899" y="227"/>
                  </a:lnTo>
                  <a:lnTo>
                    <a:pt x="1913" y="228"/>
                  </a:lnTo>
                  <a:lnTo>
                    <a:pt x="1913" y="228"/>
                  </a:lnTo>
                  <a:lnTo>
                    <a:pt x="1916" y="227"/>
                  </a:lnTo>
                  <a:lnTo>
                    <a:pt x="1917" y="225"/>
                  </a:lnTo>
                  <a:lnTo>
                    <a:pt x="1917" y="224"/>
                  </a:lnTo>
                  <a:lnTo>
                    <a:pt x="1916" y="221"/>
                  </a:lnTo>
                  <a:lnTo>
                    <a:pt x="1913" y="215"/>
                  </a:lnTo>
                  <a:lnTo>
                    <a:pt x="1912" y="210"/>
                  </a:lnTo>
                  <a:lnTo>
                    <a:pt x="1912" y="210"/>
                  </a:lnTo>
                  <a:lnTo>
                    <a:pt x="1913" y="209"/>
                  </a:lnTo>
                  <a:lnTo>
                    <a:pt x="1914" y="207"/>
                  </a:lnTo>
                  <a:lnTo>
                    <a:pt x="1917" y="207"/>
                  </a:lnTo>
                  <a:lnTo>
                    <a:pt x="1920" y="210"/>
                  </a:lnTo>
                  <a:lnTo>
                    <a:pt x="1921" y="211"/>
                  </a:lnTo>
                  <a:lnTo>
                    <a:pt x="1920" y="213"/>
                  </a:lnTo>
                  <a:lnTo>
                    <a:pt x="1920" y="213"/>
                  </a:lnTo>
                  <a:lnTo>
                    <a:pt x="1920" y="214"/>
                  </a:lnTo>
                  <a:lnTo>
                    <a:pt x="1920" y="217"/>
                  </a:lnTo>
                  <a:lnTo>
                    <a:pt x="1924" y="222"/>
                  </a:lnTo>
                  <a:lnTo>
                    <a:pt x="1931" y="225"/>
                  </a:lnTo>
                  <a:lnTo>
                    <a:pt x="1935" y="227"/>
                  </a:lnTo>
                  <a:lnTo>
                    <a:pt x="1941" y="227"/>
                  </a:lnTo>
                  <a:lnTo>
                    <a:pt x="1941" y="227"/>
                  </a:lnTo>
                  <a:lnTo>
                    <a:pt x="1945" y="227"/>
                  </a:lnTo>
                  <a:lnTo>
                    <a:pt x="1948" y="225"/>
                  </a:lnTo>
                  <a:lnTo>
                    <a:pt x="1949" y="222"/>
                  </a:lnTo>
                  <a:lnTo>
                    <a:pt x="1949" y="221"/>
                  </a:lnTo>
                  <a:lnTo>
                    <a:pt x="1949" y="217"/>
                  </a:lnTo>
                  <a:lnTo>
                    <a:pt x="1949" y="215"/>
                  </a:lnTo>
                  <a:lnTo>
                    <a:pt x="1952" y="214"/>
                  </a:lnTo>
                  <a:lnTo>
                    <a:pt x="1952" y="214"/>
                  </a:lnTo>
                  <a:lnTo>
                    <a:pt x="1956" y="211"/>
                  </a:lnTo>
                  <a:lnTo>
                    <a:pt x="1956" y="210"/>
                  </a:lnTo>
                  <a:lnTo>
                    <a:pt x="1956" y="209"/>
                  </a:lnTo>
                  <a:lnTo>
                    <a:pt x="1953" y="204"/>
                  </a:lnTo>
                  <a:lnTo>
                    <a:pt x="1948" y="200"/>
                  </a:lnTo>
                  <a:lnTo>
                    <a:pt x="1948" y="200"/>
                  </a:lnTo>
                  <a:lnTo>
                    <a:pt x="1943" y="197"/>
                  </a:lnTo>
                  <a:lnTo>
                    <a:pt x="1939" y="197"/>
                  </a:lnTo>
                  <a:lnTo>
                    <a:pt x="1930" y="196"/>
                  </a:lnTo>
                  <a:lnTo>
                    <a:pt x="1921" y="196"/>
                  </a:lnTo>
                  <a:lnTo>
                    <a:pt x="1914" y="193"/>
                  </a:lnTo>
                  <a:lnTo>
                    <a:pt x="1914" y="193"/>
                  </a:lnTo>
                  <a:lnTo>
                    <a:pt x="1906" y="190"/>
                  </a:lnTo>
                  <a:lnTo>
                    <a:pt x="1899" y="190"/>
                  </a:lnTo>
                  <a:lnTo>
                    <a:pt x="1896" y="192"/>
                  </a:lnTo>
                  <a:lnTo>
                    <a:pt x="1893" y="193"/>
                  </a:lnTo>
                  <a:lnTo>
                    <a:pt x="1892" y="196"/>
                  </a:lnTo>
                  <a:lnTo>
                    <a:pt x="1892" y="199"/>
                  </a:lnTo>
                  <a:lnTo>
                    <a:pt x="1892" y="199"/>
                  </a:lnTo>
                  <a:lnTo>
                    <a:pt x="1891" y="202"/>
                  </a:lnTo>
                  <a:lnTo>
                    <a:pt x="1888" y="202"/>
                  </a:lnTo>
                  <a:lnTo>
                    <a:pt x="1880" y="197"/>
                  </a:lnTo>
                  <a:lnTo>
                    <a:pt x="1870" y="190"/>
                  </a:lnTo>
                  <a:lnTo>
                    <a:pt x="1862" y="185"/>
                  </a:lnTo>
                  <a:lnTo>
                    <a:pt x="1862" y="185"/>
                  </a:lnTo>
                  <a:lnTo>
                    <a:pt x="1857" y="185"/>
                  </a:lnTo>
                  <a:lnTo>
                    <a:pt x="1850" y="188"/>
                  </a:lnTo>
                  <a:lnTo>
                    <a:pt x="1845" y="193"/>
                  </a:lnTo>
                  <a:lnTo>
                    <a:pt x="1838" y="199"/>
                  </a:lnTo>
                  <a:lnTo>
                    <a:pt x="1834" y="206"/>
                  </a:lnTo>
                  <a:lnTo>
                    <a:pt x="1831" y="211"/>
                  </a:lnTo>
                  <a:lnTo>
                    <a:pt x="1831" y="215"/>
                  </a:lnTo>
                  <a:lnTo>
                    <a:pt x="1831" y="217"/>
                  </a:lnTo>
                  <a:lnTo>
                    <a:pt x="1832" y="220"/>
                  </a:lnTo>
                  <a:lnTo>
                    <a:pt x="1835" y="221"/>
                  </a:lnTo>
                  <a:lnTo>
                    <a:pt x="1835" y="221"/>
                  </a:lnTo>
                  <a:close/>
                  <a:moveTo>
                    <a:pt x="1975" y="221"/>
                  </a:moveTo>
                  <a:lnTo>
                    <a:pt x="1975" y="221"/>
                  </a:lnTo>
                  <a:lnTo>
                    <a:pt x="1982" y="222"/>
                  </a:lnTo>
                  <a:lnTo>
                    <a:pt x="1991" y="227"/>
                  </a:lnTo>
                  <a:lnTo>
                    <a:pt x="2000" y="231"/>
                  </a:lnTo>
                  <a:lnTo>
                    <a:pt x="2006" y="233"/>
                  </a:lnTo>
                  <a:lnTo>
                    <a:pt x="2013" y="233"/>
                  </a:lnTo>
                  <a:lnTo>
                    <a:pt x="2013" y="233"/>
                  </a:lnTo>
                  <a:lnTo>
                    <a:pt x="2028" y="233"/>
                  </a:lnTo>
                  <a:lnTo>
                    <a:pt x="2039" y="232"/>
                  </a:lnTo>
                  <a:lnTo>
                    <a:pt x="2048" y="229"/>
                  </a:lnTo>
                  <a:lnTo>
                    <a:pt x="2050" y="228"/>
                  </a:lnTo>
                  <a:lnTo>
                    <a:pt x="2050" y="227"/>
                  </a:lnTo>
                  <a:lnTo>
                    <a:pt x="2050" y="227"/>
                  </a:lnTo>
                  <a:lnTo>
                    <a:pt x="2050" y="225"/>
                  </a:lnTo>
                  <a:lnTo>
                    <a:pt x="2048" y="222"/>
                  </a:lnTo>
                  <a:lnTo>
                    <a:pt x="2041" y="220"/>
                  </a:lnTo>
                  <a:lnTo>
                    <a:pt x="2032" y="218"/>
                  </a:lnTo>
                  <a:lnTo>
                    <a:pt x="2028" y="218"/>
                  </a:lnTo>
                  <a:lnTo>
                    <a:pt x="2025" y="218"/>
                  </a:lnTo>
                  <a:lnTo>
                    <a:pt x="2025" y="218"/>
                  </a:lnTo>
                  <a:lnTo>
                    <a:pt x="2023" y="220"/>
                  </a:lnTo>
                  <a:lnTo>
                    <a:pt x="2021" y="220"/>
                  </a:lnTo>
                  <a:lnTo>
                    <a:pt x="2017" y="217"/>
                  </a:lnTo>
                  <a:lnTo>
                    <a:pt x="2013" y="215"/>
                  </a:lnTo>
                  <a:lnTo>
                    <a:pt x="2010" y="214"/>
                  </a:lnTo>
                  <a:lnTo>
                    <a:pt x="2007" y="215"/>
                  </a:lnTo>
                  <a:lnTo>
                    <a:pt x="2007" y="215"/>
                  </a:lnTo>
                  <a:lnTo>
                    <a:pt x="2002" y="215"/>
                  </a:lnTo>
                  <a:lnTo>
                    <a:pt x="1995" y="215"/>
                  </a:lnTo>
                  <a:lnTo>
                    <a:pt x="1989" y="214"/>
                  </a:lnTo>
                  <a:lnTo>
                    <a:pt x="1987" y="210"/>
                  </a:lnTo>
                  <a:lnTo>
                    <a:pt x="1987" y="210"/>
                  </a:lnTo>
                  <a:lnTo>
                    <a:pt x="1984" y="209"/>
                  </a:lnTo>
                  <a:lnTo>
                    <a:pt x="1982" y="209"/>
                  </a:lnTo>
                  <a:lnTo>
                    <a:pt x="1977" y="213"/>
                  </a:lnTo>
                  <a:lnTo>
                    <a:pt x="1974" y="218"/>
                  </a:lnTo>
                  <a:lnTo>
                    <a:pt x="1974" y="220"/>
                  </a:lnTo>
                  <a:lnTo>
                    <a:pt x="1975" y="221"/>
                  </a:lnTo>
                  <a:lnTo>
                    <a:pt x="1975" y="221"/>
                  </a:lnTo>
                  <a:close/>
                  <a:moveTo>
                    <a:pt x="1932" y="281"/>
                  </a:moveTo>
                  <a:lnTo>
                    <a:pt x="1932" y="281"/>
                  </a:lnTo>
                  <a:lnTo>
                    <a:pt x="1934" y="279"/>
                  </a:lnTo>
                  <a:lnTo>
                    <a:pt x="1934" y="277"/>
                  </a:lnTo>
                  <a:lnTo>
                    <a:pt x="1932" y="274"/>
                  </a:lnTo>
                  <a:lnTo>
                    <a:pt x="1930" y="271"/>
                  </a:lnTo>
                  <a:lnTo>
                    <a:pt x="1921" y="265"/>
                  </a:lnTo>
                  <a:lnTo>
                    <a:pt x="1917" y="263"/>
                  </a:lnTo>
                  <a:lnTo>
                    <a:pt x="1912" y="261"/>
                  </a:lnTo>
                  <a:lnTo>
                    <a:pt x="1912" y="261"/>
                  </a:lnTo>
                  <a:lnTo>
                    <a:pt x="1906" y="261"/>
                  </a:lnTo>
                  <a:lnTo>
                    <a:pt x="1900" y="261"/>
                  </a:lnTo>
                  <a:lnTo>
                    <a:pt x="1892" y="265"/>
                  </a:lnTo>
                  <a:lnTo>
                    <a:pt x="1887" y="270"/>
                  </a:lnTo>
                  <a:lnTo>
                    <a:pt x="1885" y="272"/>
                  </a:lnTo>
                  <a:lnTo>
                    <a:pt x="1885" y="274"/>
                  </a:lnTo>
                  <a:lnTo>
                    <a:pt x="1885" y="274"/>
                  </a:lnTo>
                  <a:lnTo>
                    <a:pt x="1888" y="275"/>
                  </a:lnTo>
                  <a:lnTo>
                    <a:pt x="1893" y="277"/>
                  </a:lnTo>
                  <a:lnTo>
                    <a:pt x="1907" y="279"/>
                  </a:lnTo>
                  <a:lnTo>
                    <a:pt x="1921" y="281"/>
                  </a:lnTo>
                  <a:lnTo>
                    <a:pt x="1932" y="281"/>
                  </a:lnTo>
                  <a:lnTo>
                    <a:pt x="1932" y="281"/>
                  </a:lnTo>
                  <a:close/>
                  <a:moveTo>
                    <a:pt x="1895" y="250"/>
                  </a:moveTo>
                  <a:lnTo>
                    <a:pt x="1895" y="250"/>
                  </a:lnTo>
                  <a:lnTo>
                    <a:pt x="1893" y="249"/>
                  </a:lnTo>
                  <a:lnTo>
                    <a:pt x="1891" y="247"/>
                  </a:lnTo>
                  <a:lnTo>
                    <a:pt x="1884" y="249"/>
                  </a:lnTo>
                  <a:lnTo>
                    <a:pt x="1880" y="250"/>
                  </a:lnTo>
                  <a:lnTo>
                    <a:pt x="1878" y="253"/>
                  </a:lnTo>
                  <a:lnTo>
                    <a:pt x="1878" y="254"/>
                  </a:lnTo>
                  <a:lnTo>
                    <a:pt x="1880" y="256"/>
                  </a:lnTo>
                  <a:lnTo>
                    <a:pt x="1880" y="256"/>
                  </a:lnTo>
                  <a:lnTo>
                    <a:pt x="1885" y="257"/>
                  </a:lnTo>
                  <a:lnTo>
                    <a:pt x="1889" y="256"/>
                  </a:lnTo>
                  <a:lnTo>
                    <a:pt x="1893" y="254"/>
                  </a:lnTo>
                  <a:lnTo>
                    <a:pt x="1895" y="253"/>
                  </a:lnTo>
                  <a:lnTo>
                    <a:pt x="1895" y="250"/>
                  </a:lnTo>
                  <a:lnTo>
                    <a:pt x="1895" y="250"/>
                  </a:lnTo>
                  <a:close/>
                  <a:moveTo>
                    <a:pt x="1238" y="127"/>
                  </a:moveTo>
                  <a:lnTo>
                    <a:pt x="1238" y="127"/>
                  </a:lnTo>
                  <a:lnTo>
                    <a:pt x="1241" y="127"/>
                  </a:lnTo>
                  <a:lnTo>
                    <a:pt x="1245" y="127"/>
                  </a:lnTo>
                  <a:lnTo>
                    <a:pt x="1256" y="125"/>
                  </a:lnTo>
                  <a:lnTo>
                    <a:pt x="1267" y="122"/>
                  </a:lnTo>
                  <a:lnTo>
                    <a:pt x="1280" y="122"/>
                  </a:lnTo>
                  <a:lnTo>
                    <a:pt x="1280" y="122"/>
                  </a:lnTo>
                  <a:lnTo>
                    <a:pt x="1294" y="120"/>
                  </a:lnTo>
                  <a:lnTo>
                    <a:pt x="1310" y="116"/>
                  </a:lnTo>
                  <a:lnTo>
                    <a:pt x="1326" y="110"/>
                  </a:lnTo>
                  <a:lnTo>
                    <a:pt x="1331" y="107"/>
                  </a:lnTo>
                  <a:lnTo>
                    <a:pt x="1334" y="104"/>
                  </a:lnTo>
                  <a:lnTo>
                    <a:pt x="1334" y="104"/>
                  </a:lnTo>
                  <a:lnTo>
                    <a:pt x="1333" y="102"/>
                  </a:lnTo>
                  <a:lnTo>
                    <a:pt x="1331" y="99"/>
                  </a:lnTo>
                  <a:lnTo>
                    <a:pt x="1326" y="96"/>
                  </a:lnTo>
                  <a:lnTo>
                    <a:pt x="1319" y="95"/>
                  </a:lnTo>
                  <a:lnTo>
                    <a:pt x="1313" y="91"/>
                  </a:lnTo>
                  <a:lnTo>
                    <a:pt x="1313" y="91"/>
                  </a:lnTo>
                  <a:lnTo>
                    <a:pt x="1310" y="89"/>
                  </a:lnTo>
                  <a:lnTo>
                    <a:pt x="1308" y="88"/>
                  </a:lnTo>
                  <a:lnTo>
                    <a:pt x="1301" y="88"/>
                  </a:lnTo>
                  <a:lnTo>
                    <a:pt x="1294" y="91"/>
                  </a:lnTo>
                  <a:lnTo>
                    <a:pt x="1291" y="95"/>
                  </a:lnTo>
                  <a:lnTo>
                    <a:pt x="1291" y="95"/>
                  </a:lnTo>
                  <a:lnTo>
                    <a:pt x="1288" y="97"/>
                  </a:lnTo>
                  <a:lnTo>
                    <a:pt x="1287" y="97"/>
                  </a:lnTo>
                  <a:lnTo>
                    <a:pt x="1287" y="96"/>
                  </a:lnTo>
                  <a:lnTo>
                    <a:pt x="1288" y="92"/>
                  </a:lnTo>
                  <a:lnTo>
                    <a:pt x="1292" y="86"/>
                  </a:lnTo>
                  <a:lnTo>
                    <a:pt x="1292" y="86"/>
                  </a:lnTo>
                  <a:lnTo>
                    <a:pt x="1294" y="84"/>
                  </a:lnTo>
                  <a:lnTo>
                    <a:pt x="1295" y="81"/>
                  </a:lnTo>
                  <a:lnTo>
                    <a:pt x="1294" y="78"/>
                  </a:lnTo>
                  <a:lnTo>
                    <a:pt x="1291" y="77"/>
                  </a:lnTo>
                  <a:lnTo>
                    <a:pt x="1285" y="74"/>
                  </a:lnTo>
                  <a:lnTo>
                    <a:pt x="1284" y="75"/>
                  </a:lnTo>
                  <a:lnTo>
                    <a:pt x="1283" y="77"/>
                  </a:lnTo>
                  <a:lnTo>
                    <a:pt x="1283" y="77"/>
                  </a:lnTo>
                  <a:lnTo>
                    <a:pt x="1283" y="78"/>
                  </a:lnTo>
                  <a:lnTo>
                    <a:pt x="1280" y="79"/>
                  </a:lnTo>
                  <a:lnTo>
                    <a:pt x="1274" y="79"/>
                  </a:lnTo>
                  <a:lnTo>
                    <a:pt x="1269" y="81"/>
                  </a:lnTo>
                  <a:lnTo>
                    <a:pt x="1267" y="81"/>
                  </a:lnTo>
                  <a:lnTo>
                    <a:pt x="1266" y="82"/>
                  </a:lnTo>
                  <a:lnTo>
                    <a:pt x="1266" y="82"/>
                  </a:lnTo>
                  <a:lnTo>
                    <a:pt x="1266" y="86"/>
                  </a:lnTo>
                  <a:lnTo>
                    <a:pt x="1263" y="89"/>
                  </a:lnTo>
                  <a:lnTo>
                    <a:pt x="1262" y="92"/>
                  </a:lnTo>
                  <a:lnTo>
                    <a:pt x="1260" y="95"/>
                  </a:lnTo>
                  <a:lnTo>
                    <a:pt x="1260" y="95"/>
                  </a:lnTo>
                  <a:lnTo>
                    <a:pt x="1260" y="96"/>
                  </a:lnTo>
                  <a:lnTo>
                    <a:pt x="1259" y="97"/>
                  </a:lnTo>
                  <a:lnTo>
                    <a:pt x="1255" y="97"/>
                  </a:lnTo>
                  <a:lnTo>
                    <a:pt x="1253" y="97"/>
                  </a:lnTo>
                  <a:lnTo>
                    <a:pt x="1251" y="99"/>
                  </a:lnTo>
                  <a:lnTo>
                    <a:pt x="1249" y="100"/>
                  </a:lnTo>
                  <a:lnTo>
                    <a:pt x="1249" y="104"/>
                  </a:lnTo>
                  <a:lnTo>
                    <a:pt x="1249" y="104"/>
                  </a:lnTo>
                  <a:lnTo>
                    <a:pt x="1248" y="109"/>
                  </a:lnTo>
                  <a:lnTo>
                    <a:pt x="1247" y="111"/>
                  </a:lnTo>
                  <a:lnTo>
                    <a:pt x="1241" y="118"/>
                  </a:lnTo>
                  <a:lnTo>
                    <a:pt x="1237" y="122"/>
                  </a:lnTo>
                  <a:lnTo>
                    <a:pt x="1237" y="124"/>
                  </a:lnTo>
                  <a:lnTo>
                    <a:pt x="1238" y="127"/>
                  </a:lnTo>
                  <a:lnTo>
                    <a:pt x="1238" y="127"/>
                  </a:lnTo>
                  <a:close/>
                  <a:moveTo>
                    <a:pt x="2492" y="350"/>
                  </a:moveTo>
                  <a:lnTo>
                    <a:pt x="2492" y="350"/>
                  </a:lnTo>
                  <a:lnTo>
                    <a:pt x="2495" y="351"/>
                  </a:lnTo>
                  <a:lnTo>
                    <a:pt x="2497" y="351"/>
                  </a:lnTo>
                  <a:lnTo>
                    <a:pt x="2503" y="350"/>
                  </a:lnTo>
                  <a:lnTo>
                    <a:pt x="2509" y="349"/>
                  </a:lnTo>
                  <a:lnTo>
                    <a:pt x="2511" y="349"/>
                  </a:lnTo>
                  <a:lnTo>
                    <a:pt x="2514" y="350"/>
                  </a:lnTo>
                  <a:lnTo>
                    <a:pt x="2514" y="350"/>
                  </a:lnTo>
                  <a:lnTo>
                    <a:pt x="2517" y="351"/>
                  </a:lnTo>
                  <a:lnTo>
                    <a:pt x="2521" y="351"/>
                  </a:lnTo>
                  <a:lnTo>
                    <a:pt x="2531" y="350"/>
                  </a:lnTo>
                  <a:lnTo>
                    <a:pt x="2547" y="346"/>
                  </a:lnTo>
                  <a:lnTo>
                    <a:pt x="2547" y="346"/>
                  </a:lnTo>
                  <a:lnTo>
                    <a:pt x="2549" y="346"/>
                  </a:lnTo>
                  <a:lnTo>
                    <a:pt x="2550" y="345"/>
                  </a:lnTo>
                  <a:lnTo>
                    <a:pt x="2550" y="342"/>
                  </a:lnTo>
                  <a:lnTo>
                    <a:pt x="2549" y="340"/>
                  </a:lnTo>
                  <a:lnTo>
                    <a:pt x="2546" y="338"/>
                  </a:lnTo>
                  <a:lnTo>
                    <a:pt x="2542" y="336"/>
                  </a:lnTo>
                  <a:lnTo>
                    <a:pt x="2536" y="333"/>
                  </a:lnTo>
                  <a:lnTo>
                    <a:pt x="2529" y="333"/>
                  </a:lnTo>
                  <a:lnTo>
                    <a:pt x="2529" y="333"/>
                  </a:lnTo>
                  <a:lnTo>
                    <a:pt x="2521" y="332"/>
                  </a:lnTo>
                  <a:lnTo>
                    <a:pt x="2514" y="333"/>
                  </a:lnTo>
                  <a:lnTo>
                    <a:pt x="2506" y="336"/>
                  </a:lnTo>
                  <a:lnTo>
                    <a:pt x="2499" y="339"/>
                  </a:lnTo>
                  <a:lnTo>
                    <a:pt x="2493" y="342"/>
                  </a:lnTo>
                  <a:lnTo>
                    <a:pt x="2490" y="345"/>
                  </a:lnTo>
                  <a:lnTo>
                    <a:pt x="2489" y="349"/>
                  </a:lnTo>
                  <a:lnTo>
                    <a:pt x="2492" y="350"/>
                  </a:lnTo>
                  <a:lnTo>
                    <a:pt x="2492" y="350"/>
                  </a:lnTo>
                  <a:close/>
                  <a:moveTo>
                    <a:pt x="429" y="34"/>
                  </a:moveTo>
                  <a:lnTo>
                    <a:pt x="429" y="34"/>
                  </a:lnTo>
                  <a:lnTo>
                    <a:pt x="433" y="31"/>
                  </a:lnTo>
                  <a:lnTo>
                    <a:pt x="437" y="28"/>
                  </a:lnTo>
                  <a:lnTo>
                    <a:pt x="445" y="28"/>
                  </a:lnTo>
                  <a:lnTo>
                    <a:pt x="452" y="29"/>
                  </a:lnTo>
                  <a:lnTo>
                    <a:pt x="454" y="29"/>
                  </a:lnTo>
                  <a:lnTo>
                    <a:pt x="455" y="28"/>
                  </a:lnTo>
                  <a:lnTo>
                    <a:pt x="455" y="28"/>
                  </a:lnTo>
                  <a:lnTo>
                    <a:pt x="455" y="27"/>
                  </a:lnTo>
                  <a:lnTo>
                    <a:pt x="452" y="25"/>
                  </a:lnTo>
                  <a:lnTo>
                    <a:pt x="445" y="24"/>
                  </a:lnTo>
                  <a:lnTo>
                    <a:pt x="436" y="24"/>
                  </a:lnTo>
                  <a:lnTo>
                    <a:pt x="427" y="27"/>
                  </a:lnTo>
                  <a:lnTo>
                    <a:pt x="427" y="27"/>
                  </a:lnTo>
                  <a:lnTo>
                    <a:pt x="420" y="28"/>
                  </a:lnTo>
                  <a:lnTo>
                    <a:pt x="412" y="28"/>
                  </a:lnTo>
                  <a:lnTo>
                    <a:pt x="405" y="29"/>
                  </a:lnTo>
                  <a:lnTo>
                    <a:pt x="404" y="31"/>
                  </a:lnTo>
                  <a:lnTo>
                    <a:pt x="404" y="32"/>
                  </a:lnTo>
                  <a:lnTo>
                    <a:pt x="404" y="32"/>
                  </a:lnTo>
                  <a:lnTo>
                    <a:pt x="407" y="35"/>
                  </a:lnTo>
                  <a:lnTo>
                    <a:pt x="414" y="38"/>
                  </a:lnTo>
                  <a:lnTo>
                    <a:pt x="416" y="38"/>
                  </a:lnTo>
                  <a:lnTo>
                    <a:pt x="420" y="38"/>
                  </a:lnTo>
                  <a:lnTo>
                    <a:pt x="425" y="36"/>
                  </a:lnTo>
                  <a:lnTo>
                    <a:pt x="429" y="34"/>
                  </a:lnTo>
                  <a:lnTo>
                    <a:pt x="429" y="34"/>
                  </a:lnTo>
                  <a:close/>
                  <a:moveTo>
                    <a:pt x="452" y="403"/>
                  </a:moveTo>
                  <a:lnTo>
                    <a:pt x="452" y="403"/>
                  </a:lnTo>
                  <a:lnTo>
                    <a:pt x="458" y="406"/>
                  </a:lnTo>
                  <a:lnTo>
                    <a:pt x="462" y="407"/>
                  </a:lnTo>
                  <a:lnTo>
                    <a:pt x="466" y="406"/>
                  </a:lnTo>
                  <a:lnTo>
                    <a:pt x="469" y="404"/>
                  </a:lnTo>
                  <a:lnTo>
                    <a:pt x="476" y="400"/>
                  </a:lnTo>
                  <a:lnTo>
                    <a:pt x="482" y="397"/>
                  </a:lnTo>
                  <a:lnTo>
                    <a:pt x="482" y="397"/>
                  </a:lnTo>
                  <a:lnTo>
                    <a:pt x="483" y="396"/>
                  </a:lnTo>
                  <a:lnTo>
                    <a:pt x="484" y="395"/>
                  </a:lnTo>
                  <a:lnTo>
                    <a:pt x="482" y="392"/>
                  </a:lnTo>
                  <a:lnTo>
                    <a:pt x="475" y="389"/>
                  </a:lnTo>
                  <a:lnTo>
                    <a:pt x="468" y="386"/>
                  </a:lnTo>
                  <a:lnTo>
                    <a:pt x="468" y="386"/>
                  </a:lnTo>
                  <a:lnTo>
                    <a:pt x="464" y="386"/>
                  </a:lnTo>
                  <a:lnTo>
                    <a:pt x="459" y="386"/>
                  </a:lnTo>
                  <a:lnTo>
                    <a:pt x="457" y="388"/>
                  </a:lnTo>
                  <a:lnTo>
                    <a:pt x="452" y="390"/>
                  </a:lnTo>
                  <a:lnTo>
                    <a:pt x="451" y="393"/>
                  </a:lnTo>
                  <a:lnTo>
                    <a:pt x="450" y="396"/>
                  </a:lnTo>
                  <a:lnTo>
                    <a:pt x="450" y="399"/>
                  </a:lnTo>
                  <a:lnTo>
                    <a:pt x="452" y="403"/>
                  </a:lnTo>
                  <a:lnTo>
                    <a:pt x="452" y="403"/>
                  </a:lnTo>
                  <a:close/>
                  <a:moveTo>
                    <a:pt x="1928" y="815"/>
                  </a:moveTo>
                  <a:lnTo>
                    <a:pt x="1928" y="815"/>
                  </a:lnTo>
                  <a:lnTo>
                    <a:pt x="1927" y="810"/>
                  </a:lnTo>
                  <a:lnTo>
                    <a:pt x="1927" y="805"/>
                  </a:lnTo>
                  <a:lnTo>
                    <a:pt x="1928" y="796"/>
                  </a:lnTo>
                  <a:lnTo>
                    <a:pt x="1930" y="787"/>
                  </a:lnTo>
                  <a:lnTo>
                    <a:pt x="1928" y="785"/>
                  </a:lnTo>
                  <a:lnTo>
                    <a:pt x="1927" y="782"/>
                  </a:lnTo>
                  <a:lnTo>
                    <a:pt x="1927" y="782"/>
                  </a:lnTo>
                  <a:lnTo>
                    <a:pt x="1923" y="779"/>
                  </a:lnTo>
                  <a:lnTo>
                    <a:pt x="1921" y="775"/>
                  </a:lnTo>
                  <a:lnTo>
                    <a:pt x="1920" y="769"/>
                  </a:lnTo>
                  <a:lnTo>
                    <a:pt x="1918" y="764"/>
                  </a:lnTo>
                  <a:lnTo>
                    <a:pt x="1917" y="762"/>
                  </a:lnTo>
                  <a:lnTo>
                    <a:pt x="1916" y="764"/>
                  </a:lnTo>
                  <a:lnTo>
                    <a:pt x="1916" y="764"/>
                  </a:lnTo>
                  <a:lnTo>
                    <a:pt x="1914" y="765"/>
                  </a:lnTo>
                  <a:lnTo>
                    <a:pt x="1914" y="767"/>
                  </a:lnTo>
                  <a:lnTo>
                    <a:pt x="1913" y="772"/>
                  </a:lnTo>
                  <a:lnTo>
                    <a:pt x="1912" y="776"/>
                  </a:lnTo>
                  <a:lnTo>
                    <a:pt x="1912" y="779"/>
                  </a:lnTo>
                  <a:lnTo>
                    <a:pt x="1909" y="779"/>
                  </a:lnTo>
                  <a:lnTo>
                    <a:pt x="1909" y="779"/>
                  </a:lnTo>
                  <a:lnTo>
                    <a:pt x="1906" y="780"/>
                  </a:lnTo>
                  <a:lnTo>
                    <a:pt x="1906" y="780"/>
                  </a:lnTo>
                  <a:lnTo>
                    <a:pt x="1905" y="785"/>
                  </a:lnTo>
                  <a:lnTo>
                    <a:pt x="1906" y="790"/>
                  </a:lnTo>
                  <a:lnTo>
                    <a:pt x="1906" y="797"/>
                  </a:lnTo>
                  <a:lnTo>
                    <a:pt x="1906" y="797"/>
                  </a:lnTo>
                  <a:lnTo>
                    <a:pt x="1905" y="804"/>
                  </a:lnTo>
                  <a:lnTo>
                    <a:pt x="1906" y="812"/>
                  </a:lnTo>
                  <a:lnTo>
                    <a:pt x="1907" y="821"/>
                  </a:lnTo>
                  <a:lnTo>
                    <a:pt x="1910" y="828"/>
                  </a:lnTo>
                  <a:lnTo>
                    <a:pt x="1910" y="828"/>
                  </a:lnTo>
                  <a:lnTo>
                    <a:pt x="1912" y="832"/>
                  </a:lnTo>
                  <a:lnTo>
                    <a:pt x="1912" y="839"/>
                  </a:lnTo>
                  <a:lnTo>
                    <a:pt x="1910" y="858"/>
                  </a:lnTo>
                  <a:lnTo>
                    <a:pt x="1909" y="876"/>
                  </a:lnTo>
                  <a:lnTo>
                    <a:pt x="1909" y="883"/>
                  </a:lnTo>
                  <a:lnTo>
                    <a:pt x="1909" y="887"/>
                  </a:lnTo>
                  <a:lnTo>
                    <a:pt x="1909" y="887"/>
                  </a:lnTo>
                  <a:lnTo>
                    <a:pt x="1910" y="891"/>
                  </a:lnTo>
                  <a:lnTo>
                    <a:pt x="1910" y="897"/>
                  </a:lnTo>
                  <a:lnTo>
                    <a:pt x="1907" y="911"/>
                  </a:lnTo>
                  <a:lnTo>
                    <a:pt x="1906" y="925"/>
                  </a:lnTo>
                  <a:lnTo>
                    <a:pt x="1906" y="929"/>
                  </a:lnTo>
                  <a:lnTo>
                    <a:pt x="1906" y="932"/>
                  </a:lnTo>
                  <a:lnTo>
                    <a:pt x="1906" y="932"/>
                  </a:lnTo>
                  <a:lnTo>
                    <a:pt x="1907" y="933"/>
                  </a:lnTo>
                  <a:lnTo>
                    <a:pt x="1909" y="933"/>
                  </a:lnTo>
                  <a:lnTo>
                    <a:pt x="1910" y="929"/>
                  </a:lnTo>
                  <a:lnTo>
                    <a:pt x="1912" y="925"/>
                  </a:lnTo>
                  <a:lnTo>
                    <a:pt x="1914" y="922"/>
                  </a:lnTo>
                  <a:lnTo>
                    <a:pt x="1917" y="922"/>
                  </a:lnTo>
                  <a:lnTo>
                    <a:pt x="1917" y="922"/>
                  </a:lnTo>
                  <a:lnTo>
                    <a:pt x="1920" y="922"/>
                  </a:lnTo>
                  <a:lnTo>
                    <a:pt x="1921" y="922"/>
                  </a:lnTo>
                  <a:lnTo>
                    <a:pt x="1924" y="926"/>
                  </a:lnTo>
                  <a:lnTo>
                    <a:pt x="1927" y="930"/>
                  </a:lnTo>
                  <a:lnTo>
                    <a:pt x="1930" y="933"/>
                  </a:lnTo>
                  <a:lnTo>
                    <a:pt x="1930" y="933"/>
                  </a:lnTo>
                  <a:lnTo>
                    <a:pt x="1931" y="933"/>
                  </a:lnTo>
                  <a:lnTo>
                    <a:pt x="1932" y="932"/>
                  </a:lnTo>
                  <a:lnTo>
                    <a:pt x="1932" y="926"/>
                  </a:lnTo>
                  <a:lnTo>
                    <a:pt x="1930" y="921"/>
                  </a:lnTo>
                  <a:lnTo>
                    <a:pt x="1928" y="919"/>
                  </a:lnTo>
                  <a:lnTo>
                    <a:pt x="1927" y="919"/>
                  </a:lnTo>
                  <a:lnTo>
                    <a:pt x="1927" y="919"/>
                  </a:lnTo>
                  <a:lnTo>
                    <a:pt x="1925" y="919"/>
                  </a:lnTo>
                  <a:lnTo>
                    <a:pt x="1924" y="918"/>
                  </a:lnTo>
                  <a:lnTo>
                    <a:pt x="1921" y="912"/>
                  </a:lnTo>
                  <a:lnTo>
                    <a:pt x="1917" y="901"/>
                  </a:lnTo>
                  <a:lnTo>
                    <a:pt x="1917" y="901"/>
                  </a:lnTo>
                  <a:lnTo>
                    <a:pt x="1916" y="894"/>
                  </a:lnTo>
                  <a:lnTo>
                    <a:pt x="1918" y="889"/>
                  </a:lnTo>
                  <a:lnTo>
                    <a:pt x="1920" y="882"/>
                  </a:lnTo>
                  <a:lnTo>
                    <a:pt x="1921" y="875"/>
                  </a:lnTo>
                  <a:lnTo>
                    <a:pt x="1921" y="875"/>
                  </a:lnTo>
                  <a:lnTo>
                    <a:pt x="1921" y="872"/>
                  </a:lnTo>
                  <a:lnTo>
                    <a:pt x="1923" y="869"/>
                  </a:lnTo>
                  <a:lnTo>
                    <a:pt x="1925" y="869"/>
                  </a:lnTo>
                  <a:lnTo>
                    <a:pt x="1928" y="868"/>
                  </a:lnTo>
                  <a:lnTo>
                    <a:pt x="1934" y="869"/>
                  </a:lnTo>
                  <a:lnTo>
                    <a:pt x="1939" y="873"/>
                  </a:lnTo>
                  <a:lnTo>
                    <a:pt x="1939" y="873"/>
                  </a:lnTo>
                  <a:lnTo>
                    <a:pt x="1943" y="876"/>
                  </a:lnTo>
                  <a:lnTo>
                    <a:pt x="1946" y="876"/>
                  </a:lnTo>
                  <a:lnTo>
                    <a:pt x="1946" y="873"/>
                  </a:lnTo>
                  <a:lnTo>
                    <a:pt x="1945" y="871"/>
                  </a:lnTo>
                  <a:lnTo>
                    <a:pt x="1945" y="871"/>
                  </a:lnTo>
                  <a:lnTo>
                    <a:pt x="1942" y="861"/>
                  </a:lnTo>
                  <a:lnTo>
                    <a:pt x="1938" y="846"/>
                  </a:lnTo>
                  <a:lnTo>
                    <a:pt x="1928" y="815"/>
                  </a:lnTo>
                  <a:lnTo>
                    <a:pt x="1928" y="815"/>
                  </a:lnTo>
                  <a:close/>
                  <a:moveTo>
                    <a:pt x="2670" y="482"/>
                  </a:moveTo>
                  <a:lnTo>
                    <a:pt x="2670" y="482"/>
                  </a:lnTo>
                  <a:lnTo>
                    <a:pt x="2657" y="475"/>
                  </a:lnTo>
                  <a:lnTo>
                    <a:pt x="2652" y="469"/>
                  </a:lnTo>
                  <a:lnTo>
                    <a:pt x="2646" y="465"/>
                  </a:lnTo>
                  <a:lnTo>
                    <a:pt x="2646" y="465"/>
                  </a:lnTo>
                  <a:lnTo>
                    <a:pt x="2645" y="464"/>
                  </a:lnTo>
                  <a:lnTo>
                    <a:pt x="2642" y="461"/>
                  </a:lnTo>
                  <a:lnTo>
                    <a:pt x="2635" y="460"/>
                  </a:lnTo>
                  <a:lnTo>
                    <a:pt x="2628" y="458"/>
                  </a:lnTo>
                  <a:lnTo>
                    <a:pt x="2625" y="460"/>
                  </a:lnTo>
                  <a:lnTo>
                    <a:pt x="2625" y="460"/>
                  </a:lnTo>
                  <a:lnTo>
                    <a:pt x="2625" y="460"/>
                  </a:lnTo>
                  <a:lnTo>
                    <a:pt x="2624" y="461"/>
                  </a:lnTo>
                  <a:lnTo>
                    <a:pt x="2622" y="460"/>
                  </a:lnTo>
                  <a:lnTo>
                    <a:pt x="2620" y="458"/>
                  </a:lnTo>
                  <a:lnTo>
                    <a:pt x="2618" y="457"/>
                  </a:lnTo>
                  <a:lnTo>
                    <a:pt x="2618" y="457"/>
                  </a:lnTo>
                  <a:lnTo>
                    <a:pt x="2614" y="454"/>
                  </a:lnTo>
                  <a:lnTo>
                    <a:pt x="2607" y="454"/>
                  </a:lnTo>
                  <a:lnTo>
                    <a:pt x="2600" y="454"/>
                  </a:lnTo>
                  <a:lnTo>
                    <a:pt x="2599" y="456"/>
                  </a:lnTo>
                  <a:lnTo>
                    <a:pt x="2597" y="456"/>
                  </a:lnTo>
                  <a:lnTo>
                    <a:pt x="2597" y="456"/>
                  </a:lnTo>
                  <a:lnTo>
                    <a:pt x="2599" y="458"/>
                  </a:lnTo>
                  <a:lnTo>
                    <a:pt x="2600" y="460"/>
                  </a:lnTo>
                  <a:lnTo>
                    <a:pt x="2603" y="461"/>
                  </a:lnTo>
                  <a:lnTo>
                    <a:pt x="2604" y="464"/>
                  </a:lnTo>
                  <a:lnTo>
                    <a:pt x="2604" y="464"/>
                  </a:lnTo>
                  <a:lnTo>
                    <a:pt x="2606" y="465"/>
                  </a:lnTo>
                  <a:lnTo>
                    <a:pt x="2604" y="468"/>
                  </a:lnTo>
                  <a:lnTo>
                    <a:pt x="2603" y="471"/>
                  </a:lnTo>
                  <a:lnTo>
                    <a:pt x="2603" y="474"/>
                  </a:lnTo>
                  <a:lnTo>
                    <a:pt x="2603" y="474"/>
                  </a:lnTo>
                  <a:lnTo>
                    <a:pt x="2603" y="475"/>
                  </a:lnTo>
                  <a:lnTo>
                    <a:pt x="2602" y="475"/>
                  </a:lnTo>
                  <a:lnTo>
                    <a:pt x="2599" y="474"/>
                  </a:lnTo>
                  <a:lnTo>
                    <a:pt x="2592" y="469"/>
                  </a:lnTo>
                  <a:lnTo>
                    <a:pt x="2592" y="469"/>
                  </a:lnTo>
                  <a:lnTo>
                    <a:pt x="2590" y="467"/>
                  </a:lnTo>
                  <a:lnTo>
                    <a:pt x="2590" y="461"/>
                  </a:lnTo>
                  <a:lnTo>
                    <a:pt x="2592" y="453"/>
                  </a:lnTo>
                  <a:lnTo>
                    <a:pt x="2592" y="453"/>
                  </a:lnTo>
                  <a:lnTo>
                    <a:pt x="2592" y="450"/>
                  </a:lnTo>
                  <a:lnTo>
                    <a:pt x="2589" y="449"/>
                  </a:lnTo>
                  <a:lnTo>
                    <a:pt x="2588" y="447"/>
                  </a:lnTo>
                  <a:lnTo>
                    <a:pt x="2586" y="444"/>
                  </a:lnTo>
                  <a:lnTo>
                    <a:pt x="2586" y="444"/>
                  </a:lnTo>
                  <a:lnTo>
                    <a:pt x="2585" y="443"/>
                  </a:lnTo>
                  <a:lnTo>
                    <a:pt x="2582" y="440"/>
                  </a:lnTo>
                  <a:lnTo>
                    <a:pt x="2574" y="435"/>
                  </a:lnTo>
                  <a:lnTo>
                    <a:pt x="2556" y="426"/>
                  </a:lnTo>
                  <a:lnTo>
                    <a:pt x="2556" y="426"/>
                  </a:lnTo>
                  <a:lnTo>
                    <a:pt x="2542" y="421"/>
                  </a:lnTo>
                  <a:lnTo>
                    <a:pt x="2536" y="418"/>
                  </a:lnTo>
                  <a:lnTo>
                    <a:pt x="2532" y="415"/>
                  </a:lnTo>
                  <a:lnTo>
                    <a:pt x="2532" y="415"/>
                  </a:lnTo>
                  <a:lnTo>
                    <a:pt x="2528" y="413"/>
                  </a:lnTo>
                  <a:lnTo>
                    <a:pt x="2521" y="410"/>
                  </a:lnTo>
                  <a:lnTo>
                    <a:pt x="2514" y="407"/>
                  </a:lnTo>
                  <a:lnTo>
                    <a:pt x="2507" y="404"/>
                  </a:lnTo>
                  <a:lnTo>
                    <a:pt x="2507" y="404"/>
                  </a:lnTo>
                  <a:lnTo>
                    <a:pt x="2500" y="399"/>
                  </a:lnTo>
                  <a:lnTo>
                    <a:pt x="2488" y="393"/>
                  </a:lnTo>
                  <a:lnTo>
                    <a:pt x="2474" y="388"/>
                  </a:lnTo>
                  <a:lnTo>
                    <a:pt x="2464" y="386"/>
                  </a:lnTo>
                  <a:lnTo>
                    <a:pt x="2464" y="386"/>
                  </a:lnTo>
                  <a:lnTo>
                    <a:pt x="2457" y="385"/>
                  </a:lnTo>
                  <a:lnTo>
                    <a:pt x="2454" y="382"/>
                  </a:lnTo>
                  <a:lnTo>
                    <a:pt x="2453" y="381"/>
                  </a:lnTo>
                  <a:lnTo>
                    <a:pt x="2449" y="379"/>
                  </a:lnTo>
                  <a:lnTo>
                    <a:pt x="2449" y="379"/>
                  </a:lnTo>
                  <a:lnTo>
                    <a:pt x="2432" y="379"/>
                  </a:lnTo>
                  <a:lnTo>
                    <a:pt x="2413" y="378"/>
                  </a:lnTo>
                  <a:lnTo>
                    <a:pt x="2413" y="378"/>
                  </a:lnTo>
                  <a:lnTo>
                    <a:pt x="2409" y="379"/>
                  </a:lnTo>
                  <a:lnTo>
                    <a:pt x="2404" y="379"/>
                  </a:lnTo>
                  <a:lnTo>
                    <a:pt x="2402" y="381"/>
                  </a:lnTo>
                  <a:lnTo>
                    <a:pt x="2399" y="381"/>
                  </a:lnTo>
                  <a:lnTo>
                    <a:pt x="2399" y="381"/>
                  </a:lnTo>
                  <a:lnTo>
                    <a:pt x="2379" y="374"/>
                  </a:lnTo>
                  <a:lnTo>
                    <a:pt x="2368" y="372"/>
                  </a:lnTo>
                  <a:lnTo>
                    <a:pt x="2364" y="371"/>
                  </a:lnTo>
                  <a:lnTo>
                    <a:pt x="2363" y="372"/>
                  </a:lnTo>
                  <a:lnTo>
                    <a:pt x="2363" y="372"/>
                  </a:lnTo>
                  <a:lnTo>
                    <a:pt x="2360" y="375"/>
                  </a:lnTo>
                  <a:lnTo>
                    <a:pt x="2360" y="378"/>
                  </a:lnTo>
                  <a:lnTo>
                    <a:pt x="2359" y="381"/>
                  </a:lnTo>
                  <a:lnTo>
                    <a:pt x="2357" y="382"/>
                  </a:lnTo>
                  <a:lnTo>
                    <a:pt x="2357" y="382"/>
                  </a:lnTo>
                  <a:lnTo>
                    <a:pt x="2356" y="383"/>
                  </a:lnTo>
                  <a:lnTo>
                    <a:pt x="2357" y="386"/>
                  </a:lnTo>
                  <a:lnTo>
                    <a:pt x="2364" y="395"/>
                  </a:lnTo>
                  <a:lnTo>
                    <a:pt x="2364" y="395"/>
                  </a:lnTo>
                  <a:lnTo>
                    <a:pt x="2368" y="400"/>
                  </a:lnTo>
                  <a:lnTo>
                    <a:pt x="2368" y="401"/>
                  </a:lnTo>
                  <a:lnTo>
                    <a:pt x="2368" y="404"/>
                  </a:lnTo>
                  <a:lnTo>
                    <a:pt x="2366" y="407"/>
                  </a:lnTo>
                  <a:lnTo>
                    <a:pt x="2361" y="410"/>
                  </a:lnTo>
                  <a:lnTo>
                    <a:pt x="2361" y="410"/>
                  </a:lnTo>
                  <a:lnTo>
                    <a:pt x="2354" y="411"/>
                  </a:lnTo>
                  <a:lnTo>
                    <a:pt x="2349" y="410"/>
                  </a:lnTo>
                  <a:lnTo>
                    <a:pt x="2343" y="406"/>
                  </a:lnTo>
                  <a:lnTo>
                    <a:pt x="2339" y="401"/>
                  </a:lnTo>
                  <a:lnTo>
                    <a:pt x="2339" y="401"/>
                  </a:lnTo>
                  <a:lnTo>
                    <a:pt x="2336" y="399"/>
                  </a:lnTo>
                  <a:lnTo>
                    <a:pt x="2331" y="397"/>
                  </a:lnTo>
                  <a:lnTo>
                    <a:pt x="2327" y="396"/>
                  </a:lnTo>
                  <a:lnTo>
                    <a:pt x="2325" y="395"/>
                  </a:lnTo>
                  <a:lnTo>
                    <a:pt x="2324" y="392"/>
                  </a:lnTo>
                  <a:lnTo>
                    <a:pt x="2324" y="392"/>
                  </a:lnTo>
                  <a:lnTo>
                    <a:pt x="2324" y="388"/>
                  </a:lnTo>
                  <a:lnTo>
                    <a:pt x="2325" y="386"/>
                  </a:lnTo>
                  <a:lnTo>
                    <a:pt x="2328" y="386"/>
                  </a:lnTo>
                  <a:lnTo>
                    <a:pt x="2331" y="388"/>
                  </a:lnTo>
                  <a:lnTo>
                    <a:pt x="2331" y="388"/>
                  </a:lnTo>
                  <a:lnTo>
                    <a:pt x="2335" y="389"/>
                  </a:lnTo>
                  <a:lnTo>
                    <a:pt x="2339" y="389"/>
                  </a:lnTo>
                  <a:lnTo>
                    <a:pt x="2342" y="386"/>
                  </a:lnTo>
                  <a:lnTo>
                    <a:pt x="2343" y="383"/>
                  </a:lnTo>
                  <a:lnTo>
                    <a:pt x="2343" y="383"/>
                  </a:lnTo>
                  <a:lnTo>
                    <a:pt x="2342" y="382"/>
                  </a:lnTo>
                  <a:lnTo>
                    <a:pt x="2341" y="381"/>
                  </a:lnTo>
                  <a:lnTo>
                    <a:pt x="2336" y="378"/>
                  </a:lnTo>
                  <a:lnTo>
                    <a:pt x="2329" y="375"/>
                  </a:lnTo>
                  <a:lnTo>
                    <a:pt x="2324" y="375"/>
                  </a:lnTo>
                  <a:lnTo>
                    <a:pt x="2324" y="375"/>
                  </a:lnTo>
                  <a:lnTo>
                    <a:pt x="2318" y="378"/>
                  </a:lnTo>
                  <a:lnTo>
                    <a:pt x="2314" y="381"/>
                  </a:lnTo>
                  <a:lnTo>
                    <a:pt x="2310" y="386"/>
                  </a:lnTo>
                  <a:lnTo>
                    <a:pt x="2304" y="390"/>
                  </a:lnTo>
                  <a:lnTo>
                    <a:pt x="2304" y="390"/>
                  </a:lnTo>
                  <a:lnTo>
                    <a:pt x="2302" y="392"/>
                  </a:lnTo>
                  <a:lnTo>
                    <a:pt x="2296" y="392"/>
                  </a:lnTo>
                  <a:lnTo>
                    <a:pt x="2284" y="390"/>
                  </a:lnTo>
                  <a:lnTo>
                    <a:pt x="2273" y="388"/>
                  </a:lnTo>
                  <a:lnTo>
                    <a:pt x="2266" y="386"/>
                  </a:lnTo>
                  <a:lnTo>
                    <a:pt x="2266" y="386"/>
                  </a:lnTo>
                  <a:lnTo>
                    <a:pt x="2263" y="385"/>
                  </a:lnTo>
                  <a:lnTo>
                    <a:pt x="2257" y="385"/>
                  </a:lnTo>
                  <a:lnTo>
                    <a:pt x="2242" y="385"/>
                  </a:lnTo>
                  <a:lnTo>
                    <a:pt x="2227" y="386"/>
                  </a:lnTo>
                  <a:lnTo>
                    <a:pt x="2218" y="389"/>
                  </a:lnTo>
                  <a:lnTo>
                    <a:pt x="2218" y="389"/>
                  </a:lnTo>
                  <a:lnTo>
                    <a:pt x="2217" y="392"/>
                  </a:lnTo>
                  <a:lnTo>
                    <a:pt x="2216" y="396"/>
                  </a:lnTo>
                  <a:lnTo>
                    <a:pt x="2216" y="400"/>
                  </a:lnTo>
                  <a:lnTo>
                    <a:pt x="2216" y="403"/>
                  </a:lnTo>
                  <a:lnTo>
                    <a:pt x="2216" y="403"/>
                  </a:lnTo>
                  <a:lnTo>
                    <a:pt x="2214" y="401"/>
                  </a:lnTo>
                  <a:lnTo>
                    <a:pt x="2213" y="397"/>
                  </a:lnTo>
                  <a:lnTo>
                    <a:pt x="2211" y="388"/>
                  </a:lnTo>
                  <a:lnTo>
                    <a:pt x="2211" y="388"/>
                  </a:lnTo>
                  <a:lnTo>
                    <a:pt x="2210" y="386"/>
                  </a:lnTo>
                  <a:lnTo>
                    <a:pt x="2207" y="385"/>
                  </a:lnTo>
                  <a:lnTo>
                    <a:pt x="2199" y="383"/>
                  </a:lnTo>
                  <a:lnTo>
                    <a:pt x="2199" y="383"/>
                  </a:lnTo>
                  <a:lnTo>
                    <a:pt x="2191" y="383"/>
                  </a:lnTo>
                  <a:lnTo>
                    <a:pt x="2189" y="382"/>
                  </a:lnTo>
                  <a:lnTo>
                    <a:pt x="2191" y="381"/>
                  </a:lnTo>
                  <a:lnTo>
                    <a:pt x="2191" y="381"/>
                  </a:lnTo>
                  <a:lnTo>
                    <a:pt x="2192" y="378"/>
                  </a:lnTo>
                  <a:lnTo>
                    <a:pt x="2191" y="375"/>
                  </a:lnTo>
                  <a:lnTo>
                    <a:pt x="2191" y="374"/>
                  </a:lnTo>
                  <a:lnTo>
                    <a:pt x="2193" y="371"/>
                  </a:lnTo>
                  <a:lnTo>
                    <a:pt x="2193" y="371"/>
                  </a:lnTo>
                  <a:lnTo>
                    <a:pt x="2195" y="368"/>
                  </a:lnTo>
                  <a:lnTo>
                    <a:pt x="2193" y="365"/>
                  </a:lnTo>
                  <a:lnTo>
                    <a:pt x="2189" y="360"/>
                  </a:lnTo>
                  <a:lnTo>
                    <a:pt x="2179" y="353"/>
                  </a:lnTo>
                  <a:lnTo>
                    <a:pt x="2168" y="349"/>
                  </a:lnTo>
                  <a:lnTo>
                    <a:pt x="2168" y="349"/>
                  </a:lnTo>
                  <a:lnTo>
                    <a:pt x="2161" y="346"/>
                  </a:lnTo>
                  <a:lnTo>
                    <a:pt x="2153" y="345"/>
                  </a:lnTo>
                  <a:lnTo>
                    <a:pt x="2136" y="345"/>
                  </a:lnTo>
                  <a:lnTo>
                    <a:pt x="2120" y="346"/>
                  </a:lnTo>
                  <a:lnTo>
                    <a:pt x="2109" y="349"/>
                  </a:lnTo>
                  <a:lnTo>
                    <a:pt x="2109" y="349"/>
                  </a:lnTo>
                  <a:lnTo>
                    <a:pt x="2100" y="350"/>
                  </a:lnTo>
                  <a:lnTo>
                    <a:pt x="2091" y="350"/>
                  </a:lnTo>
                  <a:lnTo>
                    <a:pt x="2073" y="350"/>
                  </a:lnTo>
                  <a:lnTo>
                    <a:pt x="2073" y="350"/>
                  </a:lnTo>
                  <a:lnTo>
                    <a:pt x="2068" y="350"/>
                  </a:lnTo>
                  <a:lnTo>
                    <a:pt x="2068" y="349"/>
                  </a:lnTo>
                  <a:lnTo>
                    <a:pt x="2068" y="346"/>
                  </a:lnTo>
                  <a:lnTo>
                    <a:pt x="2068" y="343"/>
                  </a:lnTo>
                  <a:lnTo>
                    <a:pt x="2068" y="343"/>
                  </a:lnTo>
                  <a:lnTo>
                    <a:pt x="2064" y="339"/>
                  </a:lnTo>
                  <a:lnTo>
                    <a:pt x="2059" y="338"/>
                  </a:lnTo>
                  <a:lnTo>
                    <a:pt x="2052" y="336"/>
                  </a:lnTo>
                  <a:lnTo>
                    <a:pt x="2050" y="336"/>
                  </a:lnTo>
                  <a:lnTo>
                    <a:pt x="2049" y="338"/>
                  </a:lnTo>
                  <a:lnTo>
                    <a:pt x="2049" y="338"/>
                  </a:lnTo>
                  <a:lnTo>
                    <a:pt x="2046" y="339"/>
                  </a:lnTo>
                  <a:lnTo>
                    <a:pt x="2045" y="338"/>
                  </a:lnTo>
                  <a:lnTo>
                    <a:pt x="2043" y="336"/>
                  </a:lnTo>
                  <a:lnTo>
                    <a:pt x="2042" y="335"/>
                  </a:lnTo>
                  <a:lnTo>
                    <a:pt x="2042" y="335"/>
                  </a:lnTo>
                  <a:lnTo>
                    <a:pt x="2041" y="332"/>
                  </a:lnTo>
                  <a:lnTo>
                    <a:pt x="2035" y="329"/>
                  </a:lnTo>
                  <a:lnTo>
                    <a:pt x="2028" y="328"/>
                  </a:lnTo>
                  <a:lnTo>
                    <a:pt x="2023" y="328"/>
                  </a:lnTo>
                  <a:lnTo>
                    <a:pt x="2023" y="328"/>
                  </a:lnTo>
                  <a:lnTo>
                    <a:pt x="2020" y="328"/>
                  </a:lnTo>
                  <a:lnTo>
                    <a:pt x="2017" y="326"/>
                  </a:lnTo>
                  <a:lnTo>
                    <a:pt x="2018" y="324"/>
                  </a:lnTo>
                  <a:lnTo>
                    <a:pt x="2021" y="322"/>
                  </a:lnTo>
                  <a:lnTo>
                    <a:pt x="2021" y="322"/>
                  </a:lnTo>
                  <a:lnTo>
                    <a:pt x="2032" y="322"/>
                  </a:lnTo>
                  <a:lnTo>
                    <a:pt x="2034" y="322"/>
                  </a:lnTo>
                  <a:lnTo>
                    <a:pt x="2035" y="321"/>
                  </a:lnTo>
                  <a:lnTo>
                    <a:pt x="2035" y="320"/>
                  </a:lnTo>
                  <a:lnTo>
                    <a:pt x="2034" y="317"/>
                  </a:lnTo>
                  <a:lnTo>
                    <a:pt x="2034" y="317"/>
                  </a:lnTo>
                  <a:lnTo>
                    <a:pt x="2031" y="314"/>
                  </a:lnTo>
                  <a:lnTo>
                    <a:pt x="2024" y="313"/>
                  </a:lnTo>
                  <a:lnTo>
                    <a:pt x="2009" y="310"/>
                  </a:lnTo>
                  <a:lnTo>
                    <a:pt x="1992" y="308"/>
                  </a:lnTo>
                  <a:lnTo>
                    <a:pt x="1984" y="308"/>
                  </a:lnTo>
                  <a:lnTo>
                    <a:pt x="1984" y="308"/>
                  </a:lnTo>
                  <a:lnTo>
                    <a:pt x="1981" y="310"/>
                  </a:lnTo>
                  <a:lnTo>
                    <a:pt x="1981" y="314"/>
                  </a:lnTo>
                  <a:lnTo>
                    <a:pt x="1978" y="318"/>
                  </a:lnTo>
                  <a:lnTo>
                    <a:pt x="1974" y="324"/>
                  </a:lnTo>
                  <a:lnTo>
                    <a:pt x="1974" y="324"/>
                  </a:lnTo>
                  <a:lnTo>
                    <a:pt x="1971" y="326"/>
                  </a:lnTo>
                  <a:lnTo>
                    <a:pt x="1967" y="328"/>
                  </a:lnTo>
                  <a:lnTo>
                    <a:pt x="1964" y="328"/>
                  </a:lnTo>
                  <a:lnTo>
                    <a:pt x="1962" y="328"/>
                  </a:lnTo>
                  <a:lnTo>
                    <a:pt x="1959" y="325"/>
                  </a:lnTo>
                  <a:lnTo>
                    <a:pt x="1957" y="322"/>
                  </a:lnTo>
                  <a:lnTo>
                    <a:pt x="1957" y="322"/>
                  </a:lnTo>
                  <a:lnTo>
                    <a:pt x="1960" y="320"/>
                  </a:lnTo>
                  <a:lnTo>
                    <a:pt x="1964" y="318"/>
                  </a:lnTo>
                  <a:lnTo>
                    <a:pt x="1968" y="317"/>
                  </a:lnTo>
                  <a:lnTo>
                    <a:pt x="1970" y="317"/>
                  </a:lnTo>
                  <a:lnTo>
                    <a:pt x="1970" y="315"/>
                  </a:lnTo>
                  <a:lnTo>
                    <a:pt x="1970" y="315"/>
                  </a:lnTo>
                  <a:lnTo>
                    <a:pt x="1968" y="314"/>
                  </a:lnTo>
                  <a:lnTo>
                    <a:pt x="1967" y="313"/>
                  </a:lnTo>
                  <a:lnTo>
                    <a:pt x="1962" y="311"/>
                  </a:lnTo>
                  <a:lnTo>
                    <a:pt x="1956" y="311"/>
                  </a:lnTo>
                  <a:lnTo>
                    <a:pt x="1952" y="310"/>
                  </a:lnTo>
                  <a:lnTo>
                    <a:pt x="1952" y="310"/>
                  </a:lnTo>
                  <a:lnTo>
                    <a:pt x="1952" y="307"/>
                  </a:lnTo>
                  <a:lnTo>
                    <a:pt x="1953" y="306"/>
                  </a:lnTo>
                  <a:lnTo>
                    <a:pt x="1957" y="304"/>
                  </a:lnTo>
                  <a:lnTo>
                    <a:pt x="1962" y="306"/>
                  </a:lnTo>
                  <a:lnTo>
                    <a:pt x="1962" y="306"/>
                  </a:lnTo>
                  <a:lnTo>
                    <a:pt x="1971" y="307"/>
                  </a:lnTo>
                  <a:lnTo>
                    <a:pt x="1975" y="307"/>
                  </a:lnTo>
                  <a:lnTo>
                    <a:pt x="1977" y="306"/>
                  </a:lnTo>
                  <a:lnTo>
                    <a:pt x="1977" y="306"/>
                  </a:lnTo>
                  <a:lnTo>
                    <a:pt x="1975" y="304"/>
                  </a:lnTo>
                  <a:lnTo>
                    <a:pt x="1973" y="303"/>
                  </a:lnTo>
                  <a:lnTo>
                    <a:pt x="1962" y="300"/>
                  </a:lnTo>
                  <a:lnTo>
                    <a:pt x="1962" y="300"/>
                  </a:lnTo>
                  <a:lnTo>
                    <a:pt x="1941" y="297"/>
                  </a:lnTo>
                  <a:lnTo>
                    <a:pt x="1928" y="295"/>
                  </a:lnTo>
                  <a:lnTo>
                    <a:pt x="1918" y="295"/>
                  </a:lnTo>
                  <a:lnTo>
                    <a:pt x="1918" y="295"/>
                  </a:lnTo>
                  <a:lnTo>
                    <a:pt x="1910" y="295"/>
                  </a:lnTo>
                  <a:lnTo>
                    <a:pt x="1905" y="293"/>
                  </a:lnTo>
                  <a:lnTo>
                    <a:pt x="1899" y="292"/>
                  </a:lnTo>
                  <a:lnTo>
                    <a:pt x="1895" y="290"/>
                  </a:lnTo>
                  <a:lnTo>
                    <a:pt x="1895" y="290"/>
                  </a:lnTo>
                  <a:lnTo>
                    <a:pt x="1891" y="290"/>
                  </a:lnTo>
                  <a:lnTo>
                    <a:pt x="1889" y="292"/>
                  </a:lnTo>
                  <a:lnTo>
                    <a:pt x="1889" y="295"/>
                  </a:lnTo>
                  <a:lnTo>
                    <a:pt x="1891" y="297"/>
                  </a:lnTo>
                  <a:lnTo>
                    <a:pt x="1891" y="297"/>
                  </a:lnTo>
                  <a:lnTo>
                    <a:pt x="1892" y="299"/>
                  </a:lnTo>
                  <a:lnTo>
                    <a:pt x="1891" y="300"/>
                  </a:lnTo>
                  <a:lnTo>
                    <a:pt x="1888" y="302"/>
                  </a:lnTo>
                  <a:lnTo>
                    <a:pt x="1882" y="303"/>
                  </a:lnTo>
                  <a:lnTo>
                    <a:pt x="1877" y="302"/>
                  </a:lnTo>
                  <a:lnTo>
                    <a:pt x="1877" y="302"/>
                  </a:lnTo>
                  <a:lnTo>
                    <a:pt x="1871" y="303"/>
                  </a:lnTo>
                  <a:lnTo>
                    <a:pt x="1866" y="304"/>
                  </a:lnTo>
                  <a:lnTo>
                    <a:pt x="1862" y="307"/>
                  </a:lnTo>
                  <a:lnTo>
                    <a:pt x="1862" y="310"/>
                  </a:lnTo>
                  <a:lnTo>
                    <a:pt x="1863" y="311"/>
                  </a:lnTo>
                  <a:lnTo>
                    <a:pt x="1863" y="311"/>
                  </a:lnTo>
                  <a:lnTo>
                    <a:pt x="1864" y="313"/>
                  </a:lnTo>
                  <a:lnTo>
                    <a:pt x="1866" y="314"/>
                  </a:lnTo>
                  <a:lnTo>
                    <a:pt x="1870" y="313"/>
                  </a:lnTo>
                  <a:lnTo>
                    <a:pt x="1873" y="313"/>
                  </a:lnTo>
                  <a:lnTo>
                    <a:pt x="1875" y="313"/>
                  </a:lnTo>
                  <a:lnTo>
                    <a:pt x="1875" y="313"/>
                  </a:lnTo>
                  <a:lnTo>
                    <a:pt x="1875" y="313"/>
                  </a:lnTo>
                  <a:lnTo>
                    <a:pt x="1875" y="314"/>
                  </a:lnTo>
                  <a:lnTo>
                    <a:pt x="1873" y="315"/>
                  </a:lnTo>
                  <a:lnTo>
                    <a:pt x="1870" y="318"/>
                  </a:lnTo>
                  <a:lnTo>
                    <a:pt x="1870" y="320"/>
                  </a:lnTo>
                  <a:lnTo>
                    <a:pt x="1871" y="321"/>
                  </a:lnTo>
                  <a:lnTo>
                    <a:pt x="1871" y="321"/>
                  </a:lnTo>
                  <a:lnTo>
                    <a:pt x="1874" y="322"/>
                  </a:lnTo>
                  <a:lnTo>
                    <a:pt x="1875" y="325"/>
                  </a:lnTo>
                  <a:lnTo>
                    <a:pt x="1875" y="331"/>
                  </a:lnTo>
                  <a:lnTo>
                    <a:pt x="1875" y="331"/>
                  </a:lnTo>
                  <a:lnTo>
                    <a:pt x="1874" y="332"/>
                  </a:lnTo>
                  <a:lnTo>
                    <a:pt x="1871" y="333"/>
                  </a:lnTo>
                  <a:lnTo>
                    <a:pt x="1867" y="333"/>
                  </a:lnTo>
                  <a:lnTo>
                    <a:pt x="1863" y="331"/>
                  </a:lnTo>
                  <a:lnTo>
                    <a:pt x="1863" y="331"/>
                  </a:lnTo>
                  <a:lnTo>
                    <a:pt x="1860" y="329"/>
                  </a:lnTo>
                  <a:lnTo>
                    <a:pt x="1857" y="329"/>
                  </a:lnTo>
                  <a:lnTo>
                    <a:pt x="1853" y="329"/>
                  </a:lnTo>
                  <a:lnTo>
                    <a:pt x="1849" y="331"/>
                  </a:lnTo>
                  <a:lnTo>
                    <a:pt x="1849" y="331"/>
                  </a:lnTo>
                  <a:lnTo>
                    <a:pt x="1844" y="331"/>
                  </a:lnTo>
                  <a:lnTo>
                    <a:pt x="1841" y="331"/>
                  </a:lnTo>
                  <a:lnTo>
                    <a:pt x="1841" y="332"/>
                  </a:lnTo>
                  <a:lnTo>
                    <a:pt x="1844" y="333"/>
                  </a:lnTo>
                  <a:lnTo>
                    <a:pt x="1844" y="333"/>
                  </a:lnTo>
                  <a:lnTo>
                    <a:pt x="1848" y="335"/>
                  </a:lnTo>
                  <a:lnTo>
                    <a:pt x="1850" y="336"/>
                  </a:lnTo>
                  <a:lnTo>
                    <a:pt x="1849" y="339"/>
                  </a:lnTo>
                  <a:lnTo>
                    <a:pt x="1844" y="340"/>
                  </a:lnTo>
                  <a:lnTo>
                    <a:pt x="1844" y="340"/>
                  </a:lnTo>
                  <a:lnTo>
                    <a:pt x="1841" y="339"/>
                  </a:lnTo>
                  <a:lnTo>
                    <a:pt x="1839" y="339"/>
                  </a:lnTo>
                  <a:lnTo>
                    <a:pt x="1837" y="336"/>
                  </a:lnTo>
                  <a:lnTo>
                    <a:pt x="1835" y="333"/>
                  </a:lnTo>
                  <a:lnTo>
                    <a:pt x="1834" y="332"/>
                  </a:lnTo>
                  <a:lnTo>
                    <a:pt x="1831" y="332"/>
                  </a:lnTo>
                  <a:lnTo>
                    <a:pt x="1831" y="332"/>
                  </a:lnTo>
                  <a:lnTo>
                    <a:pt x="1827" y="332"/>
                  </a:lnTo>
                  <a:lnTo>
                    <a:pt x="1820" y="331"/>
                  </a:lnTo>
                  <a:lnTo>
                    <a:pt x="1813" y="329"/>
                  </a:lnTo>
                  <a:lnTo>
                    <a:pt x="1807" y="328"/>
                  </a:lnTo>
                  <a:lnTo>
                    <a:pt x="1807" y="328"/>
                  </a:lnTo>
                  <a:lnTo>
                    <a:pt x="1803" y="329"/>
                  </a:lnTo>
                  <a:lnTo>
                    <a:pt x="1799" y="331"/>
                  </a:lnTo>
                  <a:lnTo>
                    <a:pt x="1795" y="333"/>
                  </a:lnTo>
                  <a:lnTo>
                    <a:pt x="1789" y="335"/>
                  </a:lnTo>
                  <a:lnTo>
                    <a:pt x="1789" y="335"/>
                  </a:lnTo>
                  <a:lnTo>
                    <a:pt x="1782" y="333"/>
                  </a:lnTo>
                  <a:lnTo>
                    <a:pt x="1775" y="332"/>
                  </a:lnTo>
                  <a:lnTo>
                    <a:pt x="1770" y="329"/>
                  </a:lnTo>
                  <a:lnTo>
                    <a:pt x="1766" y="325"/>
                  </a:lnTo>
                  <a:lnTo>
                    <a:pt x="1766" y="325"/>
                  </a:lnTo>
                  <a:lnTo>
                    <a:pt x="1763" y="322"/>
                  </a:lnTo>
                  <a:lnTo>
                    <a:pt x="1762" y="321"/>
                  </a:lnTo>
                  <a:lnTo>
                    <a:pt x="1760" y="322"/>
                  </a:lnTo>
                  <a:lnTo>
                    <a:pt x="1757" y="325"/>
                  </a:lnTo>
                  <a:lnTo>
                    <a:pt x="1757" y="325"/>
                  </a:lnTo>
                  <a:lnTo>
                    <a:pt x="1755" y="329"/>
                  </a:lnTo>
                  <a:lnTo>
                    <a:pt x="1753" y="335"/>
                  </a:lnTo>
                  <a:lnTo>
                    <a:pt x="1750" y="339"/>
                  </a:lnTo>
                  <a:lnTo>
                    <a:pt x="1749" y="340"/>
                  </a:lnTo>
                  <a:lnTo>
                    <a:pt x="1749" y="340"/>
                  </a:lnTo>
                  <a:lnTo>
                    <a:pt x="1746" y="343"/>
                  </a:lnTo>
                  <a:lnTo>
                    <a:pt x="1744" y="346"/>
                  </a:lnTo>
                  <a:lnTo>
                    <a:pt x="1741" y="350"/>
                  </a:lnTo>
                  <a:lnTo>
                    <a:pt x="1738" y="353"/>
                  </a:lnTo>
                  <a:lnTo>
                    <a:pt x="1738" y="353"/>
                  </a:lnTo>
                  <a:lnTo>
                    <a:pt x="1737" y="353"/>
                  </a:lnTo>
                  <a:lnTo>
                    <a:pt x="1734" y="351"/>
                  </a:lnTo>
                  <a:lnTo>
                    <a:pt x="1732" y="350"/>
                  </a:lnTo>
                  <a:lnTo>
                    <a:pt x="1728" y="350"/>
                  </a:lnTo>
                  <a:lnTo>
                    <a:pt x="1728" y="350"/>
                  </a:lnTo>
                  <a:lnTo>
                    <a:pt x="1727" y="349"/>
                  </a:lnTo>
                  <a:lnTo>
                    <a:pt x="1723" y="347"/>
                  </a:lnTo>
                  <a:lnTo>
                    <a:pt x="1716" y="342"/>
                  </a:lnTo>
                  <a:lnTo>
                    <a:pt x="1709" y="333"/>
                  </a:lnTo>
                  <a:lnTo>
                    <a:pt x="1706" y="329"/>
                  </a:lnTo>
                  <a:lnTo>
                    <a:pt x="1706" y="329"/>
                  </a:lnTo>
                  <a:lnTo>
                    <a:pt x="1703" y="324"/>
                  </a:lnTo>
                  <a:lnTo>
                    <a:pt x="1699" y="320"/>
                  </a:lnTo>
                  <a:lnTo>
                    <a:pt x="1691" y="313"/>
                  </a:lnTo>
                  <a:lnTo>
                    <a:pt x="1691" y="313"/>
                  </a:lnTo>
                  <a:lnTo>
                    <a:pt x="1691" y="311"/>
                  </a:lnTo>
                  <a:lnTo>
                    <a:pt x="1692" y="311"/>
                  </a:lnTo>
                  <a:lnTo>
                    <a:pt x="1695" y="311"/>
                  </a:lnTo>
                  <a:lnTo>
                    <a:pt x="1698" y="313"/>
                  </a:lnTo>
                  <a:lnTo>
                    <a:pt x="1698" y="313"/>
                  </a:lnTo>
                  <a:lnTo>
                    <a:pt x="1701" y="314"/>
                  </a:lnTo>
                  <a:lnTo>
                    <a:pt x="1703" y="315"/>
                  </a:lnTo>
                  <a:lnTo>
                    <a:pt x="1706" y="315"/>
                  </a:lnTo>
                  <a:lnTo>
                    <a:pt x="1709" y="314"/>
                  </a:lnTo>
                  <a:lnTo>
                    <a:pt x="1709" y="314"/>
                  </a:lnTo>
                  <a:lnTo>
                    <a:pt x="1710" y="311"/>
                  </a:lnTo>
                  <a:lnTo>
                    <a:pt x="1710" y="308"/>
                  </a:lnTo>
                  <a:lnTo>
                    <a:pt x="1709" y="304"/>
                  </a:lnTo>
                  <a:lnTo>
                    <a:pt x="1706" y="303"/>
                  </a:lnTo>
                  <a:lnTo>
                    <a:pt x="1706" y="303"/>
                  </a:lnTo>
                  <a:lnTo>
                    <a:pt x="1703" y="303"/>
                  </a:lnTo>
                  <a:lnTo>
                    <a:pt x="1702" y="300"/>
                  </a:lnTo>
                  <a:lnTo>
                    <a:pt x="1703" y="299"/>
                  </a:lnTo>
                  <a:lnTo>
                    <a:pt x="1705" y="297"/>
                  </a:lnTo>
                  <a:lnTo>
                    <a:pt x="1705" y="297"/>
                  </a:lnTo>
                  <a:lnTo>
                    <a:pt x="1706" y="296"/>
                  </a:lnTo>
                  <a:lnTo>
                    <a:pt x="1705" y="295"/>
                  </a:lnTo>
                  <a:lnTo>
                    <a:pt x="1703" y="292"/>
                  </a:lnTo>
                  <a:lnTo>
                    <a:pt x="1701" y="288"/>
                  </a:lnTo>
                  <a:lnTo>
                    <a:pt x="1701" y="288"/>
                  </a:lnTo>
                  <a:lnTo>
                    <a:pt x="1702" y="286"/>
                  </a:lnTo>
                  <a:lnTo>
                    <a:pt x="1702" y="286"/>
                  </a:lnTo>
                  <a:lnTo>
                    <a:pt x="1703" y="285"/>
                  </a:lnTo>
                  <a:lnTo>
                    <a:pt x="1703" y="283"/>
                  </a:lnTo>
                  <a:lnTo>
                    <a:pt x="1702" y="282"/>
                  </a:lnTo>
                  <a:lnTo>
                    <a:pt x="1699" y="281"/>
                  </a:lnTo>
                  <a:lnTo>
                    <a:pt x="1699" y="281"/>
                  </a:lnTo>
                  <a:lnTo>
                    <a:pt x="1695" y="279"/>
                  </a:lnTo>
                  <a:lnTo>
                    <a:pt x="1692" y="278"/>
                  </a:lnTo>
                  <a:lnTo>
                    <a:pt x="1689" y="275"/>
                  </a:lnTo>
                  <a:lnTo>
                    <a:pt x="1688" y="274"/>
                  </a:lnTo>
                  <a:lnTo>
                    <a:pt x="1688" y="274"/>
                  </a:lnTo>
                  <a:lnTo>
                    <a:pt x="1687" y="272"/>
                  </a:lnTo>
                  <a:lnTo>
                    <a:pt x="1685" y="272"/>
                  </a:lnTo>
                  <a:lnTo>
                    <a:pt x="1677" y="271"/>
                  </a:lnTo>
                  <a:lnTo>
                    <a:pt x="1670" y="271"/>
                  </a:lnTo>
                  <a:lnTo>
                    <a:pt x="1667" y="272"/>
                  </a:lnTo>
                  <a:lnTo>
                    <a:pt x="1667" y="274"/>
                  </a:lnTo>
                  <a:lnTo>
                    <a:pt x="1667" y="274"/>
                  </a:lnTo>
                  <a:lnTo>
                    <a:pt x="1667" y="275"/>
                  </a:lnTo>
                  <a:lnTo>
                    <a:pt x="1664" y="277"/>
                  </a:lnTo>
                  <a:lnTo>
                    <a:pt x="1662" y="275"/>
                  </a:lnTo>
                  <a:lnTo>
                    <a:pt x="1662" y="274"/>
                  </a:lnTo>
                  <a:lnTo>
                    <a:pt x="1662" y="274"/>
                  </a:lnTo>
                  <a:lnTo>
                    <a:pt x="1662" y="272"/>
                  </a:lnTo>
                  <a:lnTo>
                    <a:pt x="1660" y="271"/>
                  </a:lnTo>
                  <a:lnTo>
                    <a:pt x="1657" y="271"/>
                  </a:lnTo>
                  <a:lnTo>
                    <a:pt x="1644" y="268"/>
                  </a:lnTo>
                  <a:lnTo>
                    <a:pt x="1644" y="268"/>
                  </a:lnTo>
                  <a:lnTo>
                    <a:pt x="1638" y="265"/>
                  </a:lnTo>
                  <a:lnTo>
                    <a:pt x="1634" y="263"/>
                  </a:lnTo>
                  <a:lnTo>
                    <a:pt x="1632" y="260"/>
                  </a:lnTo>
                  <a:lnTo>
                    <a:pt x="1630" y="258"/>
                  </a:lnTo>
                  <a:lnTo>
                    <a:pt x="1630" y="258"/>
                  </a:lnTo>
                  <a:lnTo>
                    <a:pt x="1628" y="258"/>
                  </a:lnTo>
                  <a:lnTo>
                    <a:pt x="1628" y="260"/>
                  </a:lnTo>
                  <a:lnTo>
                    <a:pt x="1627" y="263"/>
                  </a:lnTo>
                  <a:lnTo>
                    <a:pt x="1626" y="265"/>
                  </a:lnTo>
                  <a:lnTo>
                    <a:pt x="1624" y="265"/>
                  </a:lnTo>
                  <a:lnTo>
                    <a:pt x="1623" y="265"/>
                  </a:lnTo>
                  <a:lnTo>
                    <a:pt x="1623" y="265"/>
                  </a:lnTo>
                  <a:lnTo>
                    <a:pt x="1619" y="265"/>
                  </a:lnTo>
                  <a:lnTo>
                    <a:pt x="1616" y="267"/>
                  </a:lnTo>
                  <a:lnTo>
                    <a:pt x="1614" y="270"/>
                  </a:lnTo>
                  <a:lnTo>
                    <a:pt x="1614" y="274"/>
                  </a:lnTo>
                  <a:lnTo>
                    <a:pt x="1614" y="274"/>
                  </a:lnTo>
                  <a:lnTo>
                    <a:pt x="1616" y="278"/>
                  </a:lnTo>
                  <a:lnTo>
                    <a:pt x="1616" y="279"/>
                  </a:lnTo>
                  <a:lnTo>
                    <a:pt x="1614" y="285"/>
                  </a:lnTo>
                  <a:lnTo>
                    <a:pt x="1614" y="285"/>
                  </a:lnTo>
                  <a:lnTo>
                    <a:pt x="1613" y="288"/>
                  </a:lnTo>
                  <a:lnTo>
                    <a:pt x="1612" y="289"/>
                  </a:lnTo>
                  <a:lnTo>
                    <a:pt x="1605" y="286"/>
                  </a:lnTo>
                  <a:lnTo>
                    <a:pt x="1605" y="286"/>
                  </a:lnTo>
                  <a:lnTo>
                    <a:pt x="1602" y="286"/>
                  </a:lnTo>
                  <a:lnTo>
                    <a:pt x="1598" y="288"/>
                  </a:lnTo>
                  <a:lnTo>
                    <a:pt x="1594" y="289"/>
                  </a:lnTo>
                  <a:lnTo>
                    <a:pt x="1587" y="288"/>
                  </a:lnTo>
                  <a:lnTo>
                    <a:pt x="1587" y="288"/>
                  </a:lnTo>
                  <a:lnTo>
                    <a:pt x="1577" y="286"/>
                  </a:lnTo>
                  <a:lnTo>
                    <a:pt x="1571" y="286"/>
                  </a:lnTo>
                  <a:lnTo>
                    <a:pt x="1567" y="286"/>
                  </a:lnTo>
                  <a:lnTo>
                    <a:pt x="1564" y="283"/>
                  </a:lnTo>
                  <a:lnTo>
                    <a:pt x="1564" y="283"/>
                  </a:lnTo>
                  <a:lnTo>
                    <a:pt x="1563" y="282"/>
                  </a:lnTo>
                  <a:lnTo>
                    <a:pt x="1560" y="281"/>
                  </a:lnTo>
                  <a:lnTo>
                    <a:pt x="1559" y="281"/>
                  </a:lnTo>
                  <a:lnTo>
                    <a:pt x="1559" y="283"/>
                  </a:lnTo>
                  <a:lnTo>
                    <a:pt x="1559" y="283"/>
                  </a:lnTo>
                  <a:lnTo>
                    <a:pt x="1558" y="283"/>
                  </a:lnTo>
                  <a:lnTo>
                    <a:pt x="1555" y="285"/>
                  </a:lnTo>
                  <a:lnTo>
                    <a:pt x="1548" y="285"/>
                  </a:lnTo>
                  <a:lnTo>
                    <a:pt x="1541" y="283"/>
                  </a:lnTo>
                  <a:lnTo>
                    <a:pt x="1538" y="282"/>
                  </a:lnTo>
                  <a:lnTo>
                    <a:pt x="1537" y="279"/>
                  </a:lnTo>
                  <a:lnTo>
                    <a:pt x="1537" y="279"/>
                  </a:lnTo>
                  <a:lnTo>
                    <a:pt x="1537" y="277"/>
                  </a:lnTo>
                  <a:lnTo>
                    <a:pt x="1538" y="275"/>
                  </a:lnTo>
                  <a:lnTo>
                    <a:pt x="1542" y="272"/>
                  </a:lnTo>
                  <a:lnTo>
                    <a:pt x="1542" y="272"/>
                  </a:lnTo>
                  <a:lnTo>
                    <a:pt x="1544" y="271"/>
                  </a:lnTo>
                  <a:lnTo>
                    <a:pt x="1541" y="270"/>
                  </a:lnTo>
                  <a:lnTo>
                    <a:pt x="1535" y="270"/>
                  </a:lnTo>
                  <a:lnTo>
                    <a:pt x="1528" y="270"/>
                  </a:lnTo>
                  <a:lnTo>
                    <a:pt x="1528" y="270"/>
                  </a:lnTo>
                  <a:lnTo>
                    <a:pt x="1521" y="270"/>
                  </a:lnTo>
                  <a:lnTo>
                    <a:pt x="1514" y="267"/>
                  </a:lnTo>
                  <a:lnTo>
                    <a:pt x="1508" y="265"/>
                  </a:lnTo>
                  <a:lnTo>
                    <a:pt x="1499" y="265"/>
                  </a:lnTo>
                  <a:lnTo>
                    <a:pt x="1499" y="265"/>
                  </a:lnTo>
                  <a:lnTo>
                    <a:pt x="1477" y="268"/>
                  </a:lnTo>
                  <a:lnTo>
                    <a:pt x="1460" y="271"/>
                  </a:lnTo>
                  <a:lnTo>
                    <a:pt x="1460" y="271"/>
                  </a:lnTo>
                  <a:lnTo>
                    <a:pt x="1459" y="271"/>
                  </a:lnTo>
                  <a:lnTo>
                    <a:pt x="1459" y="272"/>
                  </a:lnTo>
                  <a:lnTo>
                    <a:pt x="1460" y="275"/>
                  </a:lnTo>
                  <a:lnTo>
                    <a:pt x="1460" y="278"/>
                  </a:lnTo>
                  <a:lnTo>
                    <a:pt x="1460" y="278"/>
                  </a:lnTo>
                  <a:lnTo>
                    <a:pt x="1459" y="279"/>
                  </a:lnTo>
                  <a:lnTo>
                    <a:pt x="1459" y="279"/>
                  </a:lnTo>
                  <a:lnTo>
                    <a:pt x="1456" y="278"/>
                  </a:lnTo>
                  <a:lnTo>
                    <a:pt x="1456" y="277"/>
                  </a:lnTo>
                  <a:lnTo>
                    <a:pt x="1455" y="274"/>
                  </a:lnTo>
                  <a:lnTo>
                    <a:pt x="1456" y="268"/>
                  </a:lnTo>
                  <a:lnTo>
                    <a:pt x="1456" y="264"/>
                  </a:lnTo>
                  <a:lnTo>
                    <a:pt x="1456" y="264"/>
                  </a:lnTo>
                  <a:lnTo>
                    <a:pt x="1453" y="260"/>
                  </a:lnTo>
                  <a:lnTo>
                    <a:pt x="1451" y="258"/>
                  </a:lnTo>
                  <a:lnTo>
                    <a:pt x="1448" y="260"/>
                  </a:lnTo>
                  <a:lnTo>
                    <a:pt x="1448" y="261"/>
                  </a:lnTo>
                  <a:lnTo>
                    <a:pt x="1448" y="261"/>
                  </a:lnTo>
                  <a:lnTo>
                    <a:pt x="1448" y="263"/>
                  </a:lnTo>
                  <a:lnTo>
                    <a:pt x="1446" y="264"/>
                  </a:lnTo>
                  <a:lnTo>
                    <a:pt x="1441" y="265"/>
                  </a:lnTo>
                  <a:lnTo>
                    <a:pt x="1435" y="265"/>
                  </a:lnTo>
                  <a:lnTo>
                    <a:pt x="1431" y="264"/>
                  </a:lnTo>
                  <a:lnTo>
                    <a:pt x="1431" y="264"/>
                  </a:lnTo>
                  <a:lnTo>
                    <a:pt x="1424" y="258"/>
                  </a:lnTo>
                  <a:lnTo>
                    <a:pt x="1420" y="257"/>
                  </a:lnTo>
                  <a:lnTo>
                    <a:pt x="1413" y="254"/>
                  </a:lnTo>
                  <a:lnTo>
                    <a:pt x="1413" y="254"/>
                  </a:lnTo>
                  <a:lnTo>
                    <a:pt x="1410" y="254"/>
                  </a:lnTo>
                  <a:lnTo>
                    <a:pt x="1406" y="254"/>
                  </a:lnTo>
                  <a:lnTo>
                    <a:pt x="1401" y="258"/>
                  </a:lnTo>
                  <a:lnTo>
                    <a:pt x="1396" y="261"/>
                  </a:lnTo>
                  <a:lnTo>
                    <a:pt x="1395" y="264"/>
                  </a:lnTo>
                  <a:lnTo>
                    <a:pt x="1396" y="265"/>
                  </a:lnTo>
                  <a:lnTo>
                    <a:pt x="1396" y="265"/>
                  </a:lnTo>
                  <a:lnTo>
                    <a:pt x="1399" y="265"/>
                  </a:lnTo>
                  <a:lnTo>
                    <a:pt x="1402" y="267"/>
                  </a:lnTo>
                  <a:lnTo>
                    <a:pt x="1405" y="267"/>
                  </a:lnTo>
                  <a:lnTo>
                    <a:pt x="1406" y="267"/>
                  </a:lnTo>
                  <a:lnTo>
                    <a:pt x="1406" y="267"/>
                  </a:lnTo>
                  <a:lnTo>
                    <a:pt x="1405" y="268"/>
                  </a:lnTo>
                  <a:lnTo>
                    <a:pt x="1403" y="270"/>
                  </a:lnTo>
                  <a:lnTo>
                    <a:pt x="1396" y="271"/>
                  </a:lnTo>
                  <a:lnTo>
                    <a:pt x="1390" y="271"/>
                  </a:lnTo>
                  <a:lnTo>
                    <a:pt x="1387" y="272"/>
                  </a:lnTo>
                  <a:lnTo>
                    <a:pt x="1387" y="272"/>
                  </a:lnTo>
                  <a:lnTo>
                    <a:pt x="1387" y="272"/>
                  </a:lnTo>
                  <a:lnTo>
                    <a:pt x="1385" y="274"/>
                  </a:lnTo>
                  <a:lnTo>
                    <a:pt x="1384" y="275"/>
                  </a:lnTo>
                  <a:lnTo>
                    <a:pt x="1377" y="278"/>
                  </a:lnTo>
                  <a:lnTo>
                    <a:pt x="1363" y="281"/>
                  </a:lnTo>
                  <a:lnTo>
                    <a:pt x="1363" y="281"/>
                  </a:lnTo>
                  <a:lnTo>
                    <a:pt x="1346" y="283"/>
                  </a:lnTo>
                  <a:lnTo>
                    <a:pt x="1342" y="286"/>
                  </a:lnTo>
                  <a:lnTo>
                    <a:pt x="1337" y="289"/>
                  </a:lnTo>
                  <a:lnTo>
                    <a:pt x="1337" y="289"/>
                  </a:lnTo>
                  <a:lnTo>
                    <a:pt x="1334" y="290"/>
                  </a:lnTo>
                  <a:lnTo>
                    <a:pt x="1334" y="288"/>
                  </a:lnTo>
                  <a:lnTo>
                    <a:pt x="1337" y="283"/>
                  </a:lnTo>
                  <a:lnTo>
                    <a:pt x="1341" y="278"/>
                  </a:lnTo>
                  <a:lnTo>
                    <a:pt x="1341" y="278"/>
                  </a:lnTo>
                  <a:lnTo>
                    <a:pt x="1345" y="275"/>
                  </a:lnTo>
                  <a:lnTo>
                    <a:pt x="1349" y="274"/>
                  </a:lnTo>
                  <a:lnTo>
                    <a:pt x="1352" y="272"/>
                  </a:lnTo>
                  <a:lnTo>
                    <a:pt x="1355" y="271"/>
                  </a:lnTo>
                  <a:lnTo>
                    <a:pt x="1355" y="271"/>
                  </a:lnTo>
                  <a:lnTo>
                    <a:pt x="1358" y="268"/>
                  </a:lnTo>
                  <a:lnTo>
                    <a:pt x="1362" y="267"/>
                  </a:lnTo>
                  <a:lnTo>
                    <a:pt x="1373" y="265"/>
                  </a:lnTo>
                  <a:lnTo>
                    <a:pt x="1373" y="265"/>
                  </a:lnTo>
                  <a:lnTo>
                    <a:pt x="1377" y="264"/>
                  </a:lnTo>
                  <a:lnTo>
                    <a:pt x="1380" y="261"/>
                  </a:lnTo>
                  <a:lnTo>
                    <a:pt x="1383" y="258"/>
                  </a:lnTo>
                  <a:lnTo>
                    <a:pt x="1385" y="257"/>
                  </a:lnTo>
                  <a:lnTo>
                    <a:pt x="1385" y="257"/>
                  </a:lnTo>
                  <a:lnTo>
                    <a:pt x="1394" y="253"/>
                  </a:lnTo>
                  <a:lnTo>
                    <a:pt x="1398" y="250"/>
                  </a:lnTo>
                  <a:lnTo>
                    <a:pt x="1401" y="247"/>
                  </a:lnTo>
                  <a:lnTo>
                    <a:pt x="1401" y="247"/>
                  </a:lnTo>
                  <a:lnTo>
                    <a:pt x="1406" y="243"/>
                  </a:lnTo>
                  <a:lnTo>
                    <a:pt x="1413" y="240"/>
                  </a:lnTo>
                  <a:lnTo>
                    <a:pt x="1423" y="238"/>
                  </a:lnTo>
                  <a:lnTo>
                    <a:pt x="1428" y="236"/>
                  </a:lnTo>
                  <a:lnTo>
                    <a:pt x="1428" y="236"/>
                  </a:lnTo>
                  <a:lnTo>
                    <a:pt x="1431" y="235"/>
                  </a:lnTo>
                  <a:lnTo>
                    <a:pt x="1433" y="232"/>
                  </a:lnTo>
                  <a:lnTo>
                    <a:pt x="1434" y="229"/>
                  </a:lnTo>
                  <a:lnTo>
                    <a:pt x="1435" y="228"/>
                  </a:lnTo>
                  <a:lnTo>
                    <a:pt x="1435" y="228"/>
                  </a:lnTo>
                  <a:lnTo>
                    <a:pt x="1444" y="225"/>
                  </a:lnTo>
                  <a:lnTo>
                    <a:pt x="1455" y="221"/>
                  </a:lnTo>
                  <a:lnTo>
                    <a:pt x="1455" y="221"/>
                  </a:lnTo>
                  <a:lnTo>
                    <a:pt x="1458" y="218"/>
                  </a:lnTo>
                  <a:lnTo>
                    <a:pt x="1459" y="215"/>
                  </a:lnTo>
                  <a:lnTo>
                    <a:pt x="1462" y="211"/>
                  </a:lnTo>
                  <a:lnTo>
                    <a:pt x="1462" y="211"/>
                  </a:lnTo>
                  <a:lnTo>
                    <a:pt x="1460" y="209"/>
                  </a:lnTo>
                  <a:lnTo>
                    <a:pt x="1459" y="209"/>
                  </a:lnTo>
                  <a:lnTo>
                    <a:pt x="1456" y="207"/>
                  </a:lnTo>
                  <a:lnTo>
                    <a:pt x="1455" y="206"/>
                  </a:lnTo>
                  <a:lnTo>
                    <a:pt x="1455" y="206"/>
                  </a:lnTo>
                  <a:lnTo>
                    <a:pt x="1455" y="204"/>
                  </a:lnTo>
                  <a:lnTo>
                    <a:pt x="1456" y="204"/>
                  </a:lnTo>
                  <a:lnTo>
                    <a:pt x="1463" y="203"/>
                  </a:lnTo>
                  <a:lnTo>
                    <a:pt x="1463" y="203"/>
                  </a:lnTo>
                  <a:lnTo>
                    <a:pt x="1464" y="200"/>
                  </a:lnTo>
                  <a:lnTo>
                    <a:pt x="1464" y="197"/>
                  </a:lnTo>
                  <a:lnTo>
                    <a:pt x="1462" y="196"/>
                  </a:lnTo>
                  <a:lnTo>
                    <a:pt x="1459" y="196"/>
                  </a:lnTo>
                  <a:lnTo>
                    <a:pt x="1459" y="196"/>
                  </a:lnTo>
                  <a:lnTo>
                    <a:pt x="1458" y="196"/>
                  </a:lnTo>
                  <a:lnTo>
                    <a:pt x="1458" y="193"/>
                  </a:lnTo>
                  <a:lnTo>
                    <a:pt x="1459" y="190"/>
                  </a:lnTo>
                  <a:lnTo>
                    <a:pt x="1458" y="188"/>
                  </a:lnTo>
                  <a:lnTo>
                    <a:pt x="1458" y="188"/>
                  </a:lnTo>
                  <a:lnTo>
                    <a:pt x="1456" y="186"/>
                  </a:lnTo>
                  <a:lnTo>
                    <a:pt x="1453" y="186"/>
                  </a:lnTo>
                  <a:lnTo>
                    <a:pt x="1451" y="188"/>
                  </a:lnTo>
                  <a:lnTo>
                    <a:pt x="1448" y="188"/>
                  </a:lnTo>
                  <a:lnTo>
                    <a:pt x="1448" y="188"/>
                  </a:lnTo>
                  <a:lnTo>
                    <a:pt x="1446" y="186"/>
                  </a:lnTo>
                  <a:lnTo>
                    <a:pt x="1446" y="186"/>
                  </a:lnTo>
                  <a:lnTo>
                    <a:pt x="1446" y="179"/>
                  </a:lnTo>
                  <a:lnTo>
                    <a:pt x="1445" y="177"/>
                  </a:lnTo>
                  <a:lnTo>
                    <a:pt x="1444" y="174"/>
                  </a:lnTo>
                  <a:lnTo>
                    <a:pt x="1444" y="174"/>
                  </a:lnTo>
                  <a:lnTo>
                    <a:pt x="1441" y="172"/>
                  </a:lnTo>
                  <a:lnTo>
                    <a:pt x="1438" y="174"/>
                  </a:lnTo>
                  <a:lnTo>
                    <a:pt x="1434" y="175"/>
                  </a:lnTo>
                  <a:lnTo>
                    <a:pt x="1433" y="175"/>
                  </a:lnTo>
                  <a:lnTo>
                    <a:pt x="1430" y="174"/>
                  </a:lnTo>
                  <a:lnTo>
                    <a:pt x="1430" y="174"/>
                  </a:lnTo>
                  <a:lnTo>
                    <a:pt x="1424" y="171"/>
                  </a:lnTo>
                  <a:lnTo>
                    <a:pt x="1416" y="168"/>
                  </a:lnTo>
                  <a:lnTo>
                    <a:pt x="1410" y="168"/>
                  </a:lnTo>
                  <a:lnTo>
                    <a:pt x="1408" y="168"/>
                  </a:lnTo>
                  <a:lnTo>
                    <a:pt x="1408" y="168"/>
                  </a:lnTo>
                  <a:lnTo>
                    <a:pt x="1406" y="168"/>
                  </a:lnTo>
                  <a:lnTo>
                    <a:pt x="1403" y="168"/>
                  </a:lnTo>
                  <a:lnTo>
                    <a:pt x="1399" y="167"/>
                  </a:lnTo>
                  <a:lnTo>
                    <a:pt x="1398" y="168"/>
                  </a:lnTo>
                  <a:lnTo>
                    <a:pt x="1398" y="168"/>
                  </a:lnTo>
                  <a:lnTo>
                    <a:pt x="1395" y="168"/>
                  </a:lnTo>
                  <a:lnTo>
                    <a:pt x="1390" y="170"/>
                  </a:lnTo>
                  <a:lnTo>
                    <a:pt x="1378" y="168"/>
                  </a:lnTo>
                  <a:lnTo>
                    <a:pt x="1378" y="168"/>
                  </a:lnTo>
                  <a:lnTo>
                    <a:pt x="1376" y="168"/>
                  </a:lnTo>
                  <a:lnTo>
                    <a:pt x="1371" y="170"/>
                  </a:lnTo>
                  <a:lnTo>
                    <a:pt x="1370" y="171"/>
                  </a:lnTo>
                  <a:lnTo>
                    <a:pt x="1369" y="174"/>
                  </a:lnTo>
                  <a:lnTo>
                    <a:pt x="1369" y="174"/>
                  </a:lnTo>
                  <a:lnTo>
                    <a:pt x="1367" y="175"/>
                  </a:lnTo>
                  <a:lnTo>
                    <a:pt x="1366" y="177"/>
                  </a:lnTo>
                  <a:lnTo>
                    <a:pt x="1359" y="177"/>
                  </a:lnTo>
                  <a:lnTo>
                    <a:pt x="1349" y="175"/>
                  </a:lnTo>
                  <a:lnTo>
                    <a:pt x="1349" y="175"/>
                  </a:lnTo>
                  <a:lnTo>
                    <a:pt x="1348" y="175"/>
                  </a:lnTo>
                  <a:lnTo>
                    <a:pt x="1349" y="174"/>
                  </a:lnTo>
                  <a:lnTo>
                    <a:pt x="1353" y="170"/>
                  </a:lnTo>
                  <a:lnTo>
                    <a:pt x="1358" y="164"/>
                  </a:lnTo>
                  <a:lnTo>
                    <a:pt x="1360" y="161"/>
                  </a:lnTo>
                  <a:lnTo>
                    <a:pt x="1360" y="161"/>
                  </a:lnTo>
                  <a:lnTo>
                    <a:pt x="1356" y="160"/>
                  </a:lnTo>
                  <a:lnTo>
                    <a:pt x="1348" y="160"/>
                  </a:lnTo>
                  <a:lnTo>
                    <a:pt x="1340" y="160"/>
                  </a:lnTo>
                  <a:lnTo>
                    <a:pt x="1334" y="160"/>
                  </a:lnTo>
                  <a:lnTo>
                    <a:pt x="1334" y="160"/>
                  </a:lnTo>
                  <a:lnTo>
                    <a:pt x="1331" y="159"/>
                  </a:lnTo>
                  <a:lnTo>
                    <a:pt x="1327" y="157"/>
                  </a:lnTo>
                  <a:lnTo>
                    <a:pt x="1316" y="157"/>
                  </a:lnTo>
                  <a:lnTo>
                    <a:pt x="1316" y="157"/>
                  </a:lnTo>
                  <a:lnTo>
                    <a:pt x="1313" y="156"/>
                  </a:lnTo>
                  <a:lnTo>
                    <a:pt x="1315" y="156"/>
                  </a:lnTo>
                  <a:lnTo>
                    <a:pt x="1320" y="154"/>
                  </a:lnTo>
                  <a:lnTo>
                    <a:pt x="1320" y="154"/>
                  </a:lnTo>
                  <a:lnTo>
                    <a:pt x="1324" y="154"/>
                  </a:lnTo>
                  <a:lnTo>
                    <a:pt x="1327" y="152"/>
                  </a:lnTo>
                  <a:lnTo>
                    <a:pt x="1335" y="149"/>
                  </a:lnTo>
                  <a:lnTo>
                    <a:pt x="1335" y="149"/>
                  </a:lnTo>
                  <a:lnTo>
                    <a:pt x="1338" y="149"/>
                  </a:lnTo>
                  <a:lnTo>
                    <a:pt x="1338" y="147"/>
                  </a:lnTo>
                  <a:lnTo>
                    <a:pt x="1337" y="143"/>
                  </a:lnTo>
                  <a:lnTo>
                    <a:pt x="1337" y="143"/>
                  </a:lnTo>
                  <a:lnTo>
                    <a:pt x="1334" y="142"/>
                  </a:lnTo>
                  <a:lnTo>
                    <a:pt x="1331" y="140"/>
                  </a:lnTo>
                  <a:lnTo>
                    <a:pt x="1324" y="140"/>
                  </a:lnTo>
                  <a:lnTo>
                    <a:pt x="1324" y="140"/>
                  </a:lnTo>
                  <a:lnTo>
                    <a:pt x="1315" y="138"/>
                  </a:lnTo>
                  <a:lnTo>
                    <a:pt x="1308" y="136"/>
                  </a:lnTo>
                  <a:lnTo>
                    <a:pt x="1308" y="136"/>
                  </a:lnTo>
                  <a:lnTo>
                    <a:pt x="1299" y="138"/>
                  </a:lnTo>
                  <a:lnTo>
                    <a:pt x="1287" y="140"/>
                  </a:lnTo>
                  <a:lnTo>
                    <a:pt x="1287" y="140"/>
                  </a:lnTo>
                  <a:lnTo>
                    <a:pt x="1280" y="143"/>
                  </a:lnTo>
                  <a:lnTo>
                    <a:pt x="1276" y="146"/>
                  </a:lnTo>
                  <a:lnTo>
                    <a:pt x="1273" y="150"/>
                  </a:lnTo>
                  <a:lnTo>
                    <a:pt x="1269" y="153"/>
                  </a:lnTo>
                  <a:lnTo>
                    <a:pt x="1269" y="153"/>
                  </a:lnTo>
                  <a:lnTo>
                    <a:pt x="1265" y="156"/>
                  </a:lnTo>
                  <a:lnTo>
                    <a:pt x="1260" y="160"/>
                  </a:lnTo>
                  <a:lnTo>
                    <a:pt x="1258" y="164"/>
                  </a:lnTo>
                  <a:lnTo>
                    <a:pt x="1258" y="165"/>
                  </a:lnTo>
                  <a:lnTo>
                    <a:pt x="1259" y="167"/>
                  </a:lnTo>
                  <a:lnTo>
                    <a:pt x="1259" y="167"/>
                  </a:lnTo>
                  <a:lnTo>
                    <a:pt x="1260" y="168"/>
                  </a:lnTo>
                  <a:lnTo>
                    <a:pt x="1262" y="170"/>
                  </a:lnTo>
                  <a:lnTo>
                    <a:pt x="1262" y="174"/>
                  </a:lnTo>
                  <a:lnTo>
                    <a:pt x="1262" y="174"/>
                  </a:lnTo>
                  <a:lnTo>
                    <a:pt x="1262" y="175"/>
                  </a:lnTo>
                  <a:lnTo>
                    <a:pt x="1259" y="177"/>
                  </a:lnTo>
                  <a:lnTo>
                    <a:pt x="1253" y="177"/>
                  </a:lnTo>
                  <a:lnTo>
                    <a:pt x="1253" y="177"/>
                  </a:lnTo>
                  <a:lnTo>
                    <a:pt x="1238" y="177"/>
                  </a:lnTo>
                  <a:lnTo>
                    <a:pt x="1231" y="177"/>
                  </a:lnTo>
                  <a:lnTo>
                    <a:pt x="1230" y="178"/>
                  </a:lnTo>
                  <a:lnTo>
                    <a:pt x="1228" y="179"/>
                  </a:lnTo>
                  <a:lnTo>
                    <a:pt x="1228" y="179"/>
                  </a:lnTo>
                  <a:lnTo>
                    <a:pt x="1231" y="182"/>
                  </a:lnTo>
                  <a:lnTo>
                    <a:pt x="1234" y="184"/>
                  </a:lnTo>
                  <a:lnTo>
                    <a:pt x="1238" y="186"/>
                  </a:lnTo>
                  <a:lnTo>
                    <a:pt x="1240" y="188"/>
                  </a:lnTo>
                  <a:lnTo>
                    <a:pt x="1240" y="188"/>
                  </a:lnTo>
                  <a:lnTo>
                    <a:pt x="1238" y="188"/>
                  </a:lnTo>
                  <a:lnTo>
                    <a:pt x="1234" y="188"/>
                  </a:lnTo>
                  <a:lnTo>
                    <a:pt x="1227" y="185"/>
                  </a:lnTo>
                  <a:lnTo>
                    <a:pt x="1227" y="185"/>
                  </a:lnTo>
                  <a:lnTo>
                    <a:pt x="1224" y="184"/>
                  </a:lnTo>
                  <a:lnTo>
                    <a:pt x="1220" y="185"/>
                  </a:lnTo>
                  <a:lnTo>
                    <a:pt x="1216" y="185"/>
                  </a:lnTo>
                  <a:lnTo>
                    <a:pt x="1213" y="188"/>
                  </a:lnTo>
                  <a:lnTo>
                    <a:pt x="1213" y="188"/>
                  </a:lnTo>
                  <a:lnTo>
                    <a:pt x="1212" y="190"/>
                  </a:lnTo>
                  <a:lnTo>
                    <a:pt x="1209" y="190"/>
                  </a:lnTo>
                  <a:lnTo>
                    <a:pt x="1203" y="190"/>
                  </a:lnTo>
                  <a:lnTo>
                    <a:pt x="1203" y="190"/>
                  </a:lnTo>
                  <a:lnTo>
                    <a:pt x="1202" y="190"/>
                  </a:lnTo>
                  <a:lnTo>
                    <a:pt x="1199" y="190"/>
                  </a:lnTo>
                  <a:lnTo>
                    <a:pt x="1197" y="190"/>
                  </a:lnTo>
                  <a:lnTo>
                    <a:pt x="1194" y="190"/>
                  </a:lnTo>
                  <a:lnTo>
                    <a:pt x="1194" y="190"/>
                  </a:lnTo>
                  <a:lnTo>
                    <a:pt x="1192" y="190"/>
                  </a:lnTo>
                  <a:lnTo>
                    <a:pt x="1192" y="189"/>
                  </a:lnTo>
                  <a:lnTo>
                    <a:pt x="1195" y="186"/>
                  </a:lnTo>
                  <a:lnTo>
                    <a:pt x="1198" y="185"/>
                  </a:lnTo>
                  <a:lnTo>
                    <a:pt x="1198" y="184"/>
                  </a:lnTo>
                  <a:lnTo>
                    <a:pt x="1198" y="182"/>
                  </a:lnTo>
                  <a:lnTo>
                    <a:pt x="1198" y="182"/>
                  </a:lnTo>
                  <a:lnTo>
                    <a:pt x="1195" y="181"/>
                  </a:lnTo>
                  <a:lnTo>
                    <a:pt x="1190" y="181"/>
                  </a:lnTo>
                  <a:lnTo>
                    <a:pt x="1185" y="184"/>
                  </a:lnTo>
                  <a:lnTo>
                    <a:pt x="1183" y="186"/>
                  </a:lnTo>
                  <a:lnTo>
                    <a:pt x="1183" y="186"/>
                  </a:lnTo>
                  <a:lnTo>
                    <a:pt x="1183" y="186"/>
                  </a:lnTo>
                  <a:lnTo>
                    <a:pt x="1181" y="188"/>
                  </a:lnTo>
                  <a:lnTo>
                    <a:pt x="1178" y="186"/>
                  </a:lnTo>
                  <a:lnTo>
                    <a:pt x="1176" y="185"/>
                  </a:lnTo>
                  <a:lnTo>
                    <a:pt x="1173" y="185"/>
                  </a:lnTo>
                  <a:lnTo>
                    <a:pt x="1173" y="185"/>
                  </a:lnTo>
                  <a:lnTo>
                    <a:pt x="1162" y="189"/>
                  </a:lnTo>
                  <a:lnTo>
                    <a:pt x="1162" y="189"/>
                  </a:lnTo>
                  <a:lnTo>
                    <a:pt x="1158" y="190"/>
                  </a:lnTo>
                  <a:lnTo>
                    <a:pt x="1154" y="189"/>
                  </a:lnTo>
                  <a:lnTo>
                    <a:pt x="1149" y="189"/>
                  </a:lnTo>
                  <a:lnTo>
                    <a:pt x="1148" y="190"/>
                  </a:lnTo>
                  <a:lnTo>
                    <a:pt x="1148" y="190"/>
                  </a:lnTo>
                  <a:lnTo>
                    <a:pt x="1147" y="192"/>
                  </a:lnTo>
                  <a:lnTo>
                    <a:pt x="1148" y="193"/>
                  </a:lnTo>
                  <a:lnTo>
                    <a:pt x="1151" y="195"/>
                  </a:lnTo>
                  <a:lnTo>
                    <a:pt x="1155" y="196"/>
                  </a:lnTo>
                  <a:lnTo>
                    <a:pt x="1156" y="197"/>
                  </a:lnTo>
                  <a:lnTo>
                    <a:pt x="1156" y="197"/>
                  </a:lnTo>
                  <a:lnTo>
                    <a:pt x="1154" y="199"/>
                  </a:lnTo>
                  <a:lnTo>
                    <a:pt x="1144" y="199"/>
                  </a:lnTo>
                  <a:lnTo>
                    <a:pt x="1135" y="200"/>
                  </a:lnTo>
                  <a:lnTo>
                    <a:pt x="1131" y="202"/>
                  </a:lnTo>
                  <a:lnTo>
                    <a:pt x="1131" y="202"/>
                  </a:lnTo>
                  <a:lnTo>
                    <a:pt x="1129" y="203"/>
                  </a:lnTo>
                  <a:lnTo>
                    <a:pt x="1124" y="203"/>
                  </a:lnTo>
                  <a:lnTo>
                    <a:pt x="1112" y="204"/>
                  </a:lnTo>
                  <a:lnTo>
                    <a:pt x="1112" y="204"/>
                  </a:lnTo>
                  <a:lnTo>
                    <a:pt x="1106" y="204"/>
                  </a:lnTo>
                  <a:lnTo>
                    <a:pt x="1104" y="207"/>
                  </a:lnTo>
                  <a:lnTo>
                    <a:pt x="1101" y="209"/>
                  </a:lnTo>
                  <a:lnTo>
                    <a:pt x="1097" y="211"/>
                  </a:lnTo>
                  <a:lnTo>
                    <a:pt x="1097" y="211"/>
                  </a:lnTo>
                  <a:lnTo>
                    <a:pt x="1087" y="213"/>
                  </a:lnTo>
                  <a:lnTo>
                    <a:pt x="1084" y="214"/>
                  </a:lnTo>
                  <a:lnTo>
                    <a:pt x="1081" y="217"/>
                  </a:lnTo>
                  <a:lnTo>
                    <a:pt x="1081" y="217"/>
                  </a:lnTo>
                  <a:lnTo>
                    <a:pt x="1079" y="220"/>
                  </a:lnTo>
                  <a:lnTo>
                    <a:pt x="1076" y="221"/>
                  </a:lnTo>
                  <a:lnTo>
                    <a:pt x="1073" y="220"/>
                  </a:lnTo>
                  <a:lnTo>
                    <a:pt x="1070" y="218"/>
                  </a:lnTo>
                  <a:lnTo>
                    <a:pt x="1070" y="218"/>
                  </a:lnTo>
                  <a:lnTo>
                    <a:pt x="1067" y="217"/>
                  </a:lnTo>
                  <a:lnTo>
                    <a:pt x="1065" y="218"/>
                  </a:lnTo>
                  <a:lnTo>
                    <a:pt x="1062" y="220"/>
                  </a:lnTo>
                  <a:lnTo>
                    <a:pt x="1062" y="220"/>
                  </a:lnTo>
                  <a:lnTo>
                    <a:pt x="1063" y="221"/>
                  </a:lnTo>
                  <a:lnTo>
                    <a:pt x="1063" y="221"/>
                  </a:lnTo>
                  <a:lnTo>
                    <a:pt x="1065" y="221"/>
                  </a:lnTo>
                  <a:lnTo>
                    <a:pt x="1065" y="222"/>
                  </a:lnTo>
                  <a:lnTo>
                    <a:pt x="1063" y="224"/>
                  </a:lnTo>
                  <a:lnTo>
                    <a:pt x="1062" y="224"/>
                  </a:lnTo>
                  <a:lnTo>
                    <a:pt x="1062" y="224"/>
                  </a:lnTo>
                  <a:lnTo>
                    <a:pt x="1059" y="225"/>
                  </a:lnTo>
                  <a:lnTo>
                    <a:pt x="1056" y="227"/>
                  </a:lnTo>
                  <a:lnTo>
                    <a:pt x="1055" y="228"/>
                  </a:lnTo>
                  <a:lnTo>
                    <a:pt x="1055" y="228"/>
                  </a:lnTo>
                  <a:lnTo>
                    <a:pt x="1055" y="228"/>
                  </a:lnTo>
                  <a:lnTo>
                    <a:pt x="1058" y="228"/>
                  </a:lnTo>
                  <a:lnTo>
                    <a:pt x="1060" y="229"/>
                  </a:lnTo>
                  <a:lnTo>
                    <a:pt x="1060" y="232"/>
                  </a:lnTo>
                  <a:lnTo>
                    <a:pt x="1059" y="233"/>
                  </a:lnTo>
                  <a:lnTo>
                    <a:pt x="1059" y="233"/>
                  </a:lnTo>
                  <a:lnTo>
                    <a:pt x="1056" y="235"/>
                  </a:lnTo>
                  <a:lnTo>
                    <a:pt x="1054" y="233"/>
                  </a:lnTo>
                  <a:lnTo>
                    <a:pt x="1049" y="232"/>
                  </a:lnTo>
                  <a:lnTo>
                    <a:pt x="1047" y="233"/>
                  </a:lnTo>
                  <a:lnTo>
                    <a:pt x="1047" y="233"/>
                  </a:lnTo>
                  <a:lnTo>
                    <a:pt x="1047" y="235"/>
                  </a:lnTo>
                  <a:lnTo>
                    <a:pt x="1048" y="236"/>
                  </a:lnTo>
                  <a:lnTo>
                    <a:pt x="1051" y="238"/>
                  </a:lnTo>
                  <a:lnTo>
                    <a:pt x="1055" y="238"/>
                  </a:lnTo>
                  <a:lnTo>
                    <a:pt x="1055" y="238"/>
                  </a:lnTo>
                  <a:lnTo>
                    <a:pt x="1058" y="238"/>
                  </a:lnTo>
                  <a:lnTo>
                    <a:pt x="1059" y="239"/>
                  </a:lnTo>
                  <a:lnTo>
                    <a:pt x="1062" y="243"/>
                  </a:lnTo>
                  <a:lnTo>
                    <a:pt x="1062" y="243"/>
                  </a:lnTo>
                  <a:lnTo>
                    <a:pt x="1062" y="245"/>
                  </a:lnTo>
                  <a:lnTo>
                    <a:pt x="1060" y="245"/>
                  </a:lnTo>
                  <a:lnTo>
                    <a:pt x="1056" y="243"/>
                  </a:lnTo>
                  <a:lnTo>
                    <a:pt x="1052" y="243"/>
                  </a:lnTo>
                  <a:lnTo>
                    <a:pt x="1049" y="245"/>
                  </a:lnTo>
                  <a:lnTo>
                    <a:pt x="1049" y="245"/>
                  </a:lnTo>
                  <a:lnTo>
                    <a:pt x="1049" y="246"/>
                  </a:lnTo>
                  <a:lnTo>
                    <a:pt x="1051" y="247"/>
                  </a:lnTo>
                  <a:lnTo>
                    <a:pt x="1056" y="249"/>
                  </a:lnTo>
                  <a:lnTo>
                    <a:pt x="1056" y="249"/>
                  </a:lnTo>
                  <a:lnTo>
                    <a:pt x="1058" y="249"/>
                  </a:lnTo>
                  <a:lnTo>
                    <a:pt x="1059" y="250"/>
                  </a:lnTo>
                  <a:lnTo>
                    <a:pt x="1059" y="252"/>
                  </a:lnTo>
                  <a:lnTo>
                    <a:pt x="1060" y="254"/>
                  </a:lnTo>
                  <a:lnTo>
                    <a:pt x="1060" y="254"/>
                  </a:lnTo>
                  <a:lnTo>
                    <a:pt x="1062" y="254"/>
                  </a:lnTo>
                  <a:lnTo>
                    <a:pt x="1062" y="254"/>
                  </a:lnTo>
                  <a:lnTo>
                    <a:pt x="1062" y="256"/>
                  </a:lnTo>
                  <a:lnTo>
                    <a:pt x="1062" y="258"/>
                  </a:lnTo>
                  <a:lnTo>
                    <a:pt x="1060" y="260"/>
                  </a:lnTo>
                  <a:lnTo>
                    <a:pt x="1060" y="261"/>
                  </a:lnTo>
                  <a:lnTo>
                    <a:pt x="1060" y="261"/>
                  </a:lnTo>
                  <a:lnTo>
                    <a:pt x="1059" y="263"/>
                  </a:lnTo>
                  <a:lnTo>
                    <a:pt x="1058" y="264"/>
                  </a:lnTo>
                  <a:lnTo>
                    <a:pt x="1056" y="264"/>
                  </a:lnTo>
                  <a:lnTo>
                    <a:pt x="1056" y="263"/>
                  </a:lnTo>
                  <a:lnTo>
                    <a:pt x="1056" y="263"/>
                  </a:lnTo>
                  <a:lnTo>
                    <a:pt x="1054" y="261"/>
                  </a:lnTo>
                  <a:lnTo>
                    <a:pt x="1049" y="260"/>
                  </a:lnTo>
                  <a:lnTo>
                    <a:pt x="1044" y="260"/>
                  </a:lnTo>
                  <a:lnTo>
                    <a:pt x="1041" y="261"/>
                  </a:lnTo>
                  <a:lnTo>
                    <a:pt x="1041" y="261"/>
                  </a:lnTo>
                  <a:lnTo>
                    <a:pt x="1037" y="265"/>
                  </a:lnTo>
                  <a:lnTo>
                    <a:pt x="1036" y="265"/>
                  </a:lnTo>
                  <a:lnTo>
                    <a:pt x="1034" y="264"/>
                  </a:lnTo>
                  <a:lnTo>
                    <a:pt x="1034" y="264"/>
                  </a:lnTo>
                  <a:lnTo>
                    <a:pt x="1030" y="263"/>
                  </a:lnTo>
                  <a:lnTo>
                    <a:pt x="1024" y="264"/>
                  </a:lnTo>
                  <a:lnTo>
                    <a:pt x="1011" y="265"/>
                  </a:lnTo>
                  <a:lnTo>
                    <a:pt x="1011" y="265"/>
                  </a:lnTo>
                  <a:lnTo>
                    <a:pt x="988" y="267"/>
                  </a:lnTo>
                  <a:lnTo>
                    <a:pt x="977" y="268"/>
                  </a:lnTo>
                  <a:lnTo>
                    <a:pt x="970" y="270"/>
                  </a:lnTo>
                  <a:lnTo>
                    <a:pt x="970" y="270"/>
                  </a:lnTo>
                  <a:lnTo>
                    <a:pt x="966" y="271"/>
                  </a:lnTo>
                  <a:lnTo>
                    <a:pt x="963" y="275"/>
                  </a:lnTo>
                  <a:lnTo>
                    <a:pt x="962" y="281"/>
                  </a:lnTo>
                  <a:lnTo>
                    <a:pt x="963" y="282"/>
                  </a:lnTo>
                  <a:lnTo>
                    <a:pt x="965" y="285"/>
                  </a:lnTo>
                  <a:lnTo>
                    <a:pt x="965" y="285"/>
                  </a:lnTo>
                  <a:lnTo>
                    <a:pt x="967" y="288"/>
                  </a:lnTo>
                  <a:lnTo>
                    <a:pt x="966" y="290"/>
                  </a:lnTo>
                  <a:lnTo>
                    <a:pt x="966" y="293"/>
                  </a:lnTo>
                  <a:lnTo>
                    <a:pt x="965" y="296"/>
                  </a:lnTo>
                  <a:lnTo>
                    <a:pt x="965" y="296"/>
                  </a:lnTo>
                  <a:lnTo>
                    <a:pt x="967" y="299"/>
                  </a:lnTo>
                  <a:lnTo>
                    <a:pt x="973" y="303"/>
                  </a:lnTo>
                  <a:lnTo>
                    <a:pt x="980" y="306"/>
                  </a:lnTo>
                  <a:lnTo>
                    <a:pt x="986" y="307"/>
                  </a:lnTo>
                  <a:lnTo>
                    <a:pt x="986" y="307"/>
                  </a:lnTo>
                  <a:lnTo>
                    <a:pt x="991" y="308"/>
                  </a:lnTo>
                  <a:lnTo>
                    <a:pt x="995" y="313"/>
                  </a:lnTo>
                  <a:lnTo>
                    <a:pt x="997" y="318"/>
                  </a:lnTo>
                  <a:lnTo>
                    <a:pt x="997" y="320"/>
                  </a:lnTo>
                  <a:lnTo>
                    <a:pt x="995" y="322"/>
                  </a:lnTo>
                  <a:lnTo>
                    <a:pt x="995" y="322"/>
                  </a:lnTo>
                  <a:lnTo>
                    <a:pt x="992" y="324"/>
                  </a:lnTo>
                  <a:lnTo>
                    <a:pt x="990" y="324"/>
                  </a:lnTo>
                  <a:lnTo>
                    <a:pt x="983" y="322"/>
                  </a:lnTo>
                  <a:lnTo>
                    <a:pt x="976" y="318"/>
                  </a:lnTo>
                  <a:lnTo>
                    <a:pt x="969" y="314"/>
                  </a:lnTo>
                  <a:lnTo>
                    <a:pt x="969" y="314"/>
                  </a:lnTo>
                  <a:lnTo>
                    <a:pt x="961" y="310"/>
                  </a:lnTo>
                  <a:lnTo>
                    <a:pt x="949" y="306"/>
                  </a:lnTo>
                  <a:lnTo>
                    <a:pt x="940" y="304"/>
                  </a:lnTo>
                  <a:lnTo>
                    <a:pt x="933" y="304"/>
                  </a:lnTo>
                  <a:lnTo>
                    <a:pt x="933" y="304"/>
                  </a:lnTo>
                  <a:lnTo>
                    <a:pt x="929" y="304"/>
                  </a:lnTo>
                  <a:lnTo>
                    <a:pt x="927" y="302"/>
                  </a:lnTo>
                  <a:lnTo>
                    <a:pt x="926" y="300"/>
                  </a:lnTo>
                  <a:lnTo>
                    <a:pt x="922" y="299"/>
                  </a:lnTo>
                  <a:lnTo>
                    <a:pt x="922" y="299"/>
                  </a:lnTo>
                  <a:lnTo>
                    <a:pt x="915" y="300"/>
                  </a:lnTo>
                  <a:lnTo>
                    <a:pt x="911" y="303"/>
                  </a:lnTo>
                  <a:lnTo>
                    <a:pt x="909" y="306"/>
                  </a:lnTo>
                  <a:lnTo>
                    <a:pt x="909" y="306"/>
                  </a:lnTo>
                  <a:lnTo>
                    <a:pt x="912" y="307"/>
                  </a:lnTo>
                  <a:lnTo>
                    <a:pt x="912" y="307"/>
                  </a:lnTo>
                  <a:lnTo>
                    <a:pt x="917" y="307"/>
                  </a:lnTo>
                  <a:lnTo>
                    <a:pt x="919" y="307"/>
                  </a:lnTo>
                  <a:lnTo>
                    <a:pt x="917" y="308"/>
                  </a:lnTo>
                  <a:lnTo>
                    <a:pt x="917" y="308"/>
                  </a:lnTo>
                  <a:lnTo>
                    <a:pt x="917" y="310"/>
                  </a:lnTo>
                  <a:lnTo>
                    <a:pt x="919" y="311"/>
                  </a:lnTo>
                  <a:lnTo>
                    <a:pt x="926" y="314"/>
                  </a:lnTo>
                  <a:lnTo>
                    <a:pt x="926" y="314"/>
                  </a:lnTo>
                  <a:lnTo>
                    <a:pt x="929" y="315"/>
                  </a:lnTo>
                  <a:lnTo>
                    <a:pt x="929" y="317"/>
                  </a:lnTo>
                  <a:lnTo>
                    <a:pt x="926" y="318"/>
                  </a:lnTo>
                  <a:lnTo>
                    <a:pt x="919" y="318"/>
                  </a:lnTo>
                  <a:lnTo>
                    <a:pt x="913" y="317"/>
                  </a:lnTo>
                  <a:lnTo>
                    <a:pt x="913" y="317"/>
                  </a:lnTo>
                  <a:lnTo>
                    <a:pt x="908" y="314"/>
                  </a:lnTo>
                  <a:lnTo>
                    <a:pt x="904" y="314"/>
                  </a:lnTo>
                  <a:lnTo>
                    <a:pt x="899" y="317"/>
                  </a:lnTo>
                  <a:lnTo>
                    <a:pt x="897" y="320"/>
                  </a:lnTo>
                  <a:lnTo>
                    <a:pt x="897" y="320"/>
                  </a:lnTo>
                  <a:lnTo>
                    <a:pt x="897" y="321"/>
                  </a:lnTo>
                  <a:lnTo>
                    <a:pt x="897" y="324"/>
                  </a:lnTo>
                  <a:lnTo>
                    <a:pt x="901" y="328"/>
                  </a:lnTo>
                  <a:lnTo>
                    <a:pt x="909" y="333"/>
                  </a:lnTo>
                  <a:lnTo>
                    <a:pt x="917" y="336"/>
                  </a:lnTo>
                  <a:lnTo>
                    <a:pt x="917" y="336"/>
                  </a:lnTo>
                  <a:lnTo>
                    <a:pt x="924" y="338"/>
                  </a:lnTo>
                  <a:lnTo>
                    <a:pt x="927" y="339"/>
                  </a:lnTo>
                  <a:lnTo>
                    <a:pt x="929" y="342"/>
                  </a:lnTo>
                  <a:lnTo>
                    <a:pt x="931" y="343"/>
                  </a:lnTo>
                  <a:lnTo>
                    <a:pt x="931" y="343"/>
                  </a:lnTo>
                  <a:lnTo>
                    <a:pt x="934" y="346"/>
                  </a:lnTo>
                  <a:lnTo>
                    <a:pt x="934" y="347"/>
                  </a:lnTo>
                  <a:lnTo>
                    <a:pt x="931" y="347"/>
                  </a:lnTo>
                  <a:lnTo>
                    <a:pt x="929" y="349"/>
                  </a:lnTo>
                  <a:lnTo>
                    <a:pt x="929" y="349"/>
                  </a:lnTo>
                  <a:lnTo>
                    <a:pt x="926" y="347"/>
                  </a:lnTo>
                  <a:lnTo>
                    <a:pt x="922" y="345"/>
                  </a:lnTo>
                  <a:lnTo>
                    <a:pt x="911" y="339"/>
                  </a:lnTo>
                  <a:lnTo>
                    <a:pt x="911" y="339"/>
                  </a:lnTo>
                  <a:lnTo>
                    <a:pt x="905" y="338"/>
                  </a:lnTo>
                  <a:lnTo>
                    <a:pt x="897" y="338"/>
                  </a:lnTo>
                  <a:lnTo>
                    <a:pt x="890" y="338"/>
                  </a:lnTo>
                  <a:lnTo>
                    <a:pt x="887" y="338"/>
                  </a:lnTo>
                  <a:lnTo>
                    <a:pt x="884" y="336"/>
                  </a:lnTo>
                  <a:lnTo>
                    <a:pt x="884" y="336"/>
                  </a:lnTo>
                  <a:lnTo>
                    <a:pt x="883" y="333"/>
                  </a:lnTo>
                  <a:lnTo>
                    <a:pt x="884" y="331"/>
                  </a:lnTo>
                  <a:lnTo>
                    <a:pt x="884" y="329"/>
                  </a:lnTo>
                  <a:lnTo>
                    <a:pt x="884" y="326"/>
                  </a:lnTo>
                  <a:lnTo>
                    <a:pt x="884" y="326"/>
                  </a:lnTo>
                  <a:lnTo>
                    <a:pt x="883" y="324"/>
                  </a:lnTo>
                  <a:lnTo>
                    <a:pt x="883" y="320"/>
                  </a:lnTo>
                  <a:lnTo>
                    <a:pt x="887" y="311"/>
                  </a:lnTo>
                  <a:lnTo>
                    <a:pt x="887" y="311"/>
                  </a:lnTo>
                  <a:lnTo>
                    <a:pt x="888" y="308"/>
                  </a:lnTo>
                  <a:lnTo>
                    <a:pt x="888" y="306"/>
                  </a:lnTo>
                  <a:lnTo>
                    <a:pt x="888" y="300"/>
                  </a:lnTo>
                  <a:lnTo>
                    <a:pt x="884" y="295"/>
                  </a:lnTo>
                  <a:lnTo>
                    <a:pt x="880" y="292"/>
                  </a:lnTo>
                  <a:lnTo>
                    <a:pt x="880" y="292"/>
                  </a:lnTo>
                  <a:lnTo>
                    <a:pt x="877" y="292"/>
                  </a:lnTo>
                  <a:lnTo>
                    <a:pt x="876" y="293"/>
                  </a:lnTo>
                  <a:lnTo>
                    <a:pt x="876" y="296"/>
                  </a:lnTo>
                  <a:lnTo>
                    <a:pt x="876" y="297"/>
                  </a:lnTo>
                  <a:lnTo>
                    <a:pt x="876" y="297"/>
                  </a:lnTo>
                  <a:lnTo>
                    <a:pt x="877" y="300"/>
                  </a:lnTo>
                  <a:lnTo>
                    <a:pt x="877" y="304"/>
                  </a:lnTo>
                  <a:lnTo>
                    <a:pt x="876" y="310"/>
                  </a:lnTo>
                  <a:lnTo>
                    <a:pt x="873" y="314"/>
                  </a:lnTo>
                  <a:lnTo>
                    <a:pt x="873" y="314"/>
                  </a:lnTo>
                  <a:lnTo>
                    <a:pt x="868" y="318"/>
                  </a:lnTo>
                  <a:lnTo>
                    <a:pt x="862" y="320"/>
                  </a:lnTo>
                  <a:lnTo>
                    <a:pt x="856" y="322"/>
                  </a:lnTo>
                  <a:lnTo>
                    <a:pt x="854" y="322"/>
                  </a:lnTo>
                  <a:lnTo>
                    <a:pt x="854" y="324"/>
                  </a:lnTo>
                  <a:lnTo>
                    <a:pt x="854" y="324"/>
                  </a:lnTo>
                  <a:lnTo>
                    <a:pt x="852" y="326"/>
                  </a:lnTo>
                  <a:lnTo>
                    <a:pt x="849" y="329"/>
                  </a:lnTo>
                  <a:lnTo>
                    <a:pt x="847" y="332"/>
                  </a:lnTo>
                  <a:lnTo>
                    <a:pt x="847" y="332"/>
                  </a:lnTo>
                  <a:lnTo>
                    <a:pt x="848" y="333"/>
                  </a:lnTo>
                  <a:lnTo>
                    <a:pt x="848" y="333"/>
                  </a:lnTo>
                  <a:lnTo>
                    <a:pt x="856" y="345"/>
                  </a:lnTo>
                  <a:lnTo>
                    <a:pt x="862" y="350"/>
                  </a:lnTo>
                  <a:lnTo>
                    <a:pt x="865" y="356"/>
                  </a:lnTo>
                  <a:lnTo>
                    <a:pt x="865" y="356"/>
                  </a:lnTo>
                  <a:lnTo>
                    <a:pt x="865" y="357"/>
                  </a:lnTo>
                  <a:lnTo>
                    <a:pt x="865" y="360"/>
                  </a:lnTo>
                  <a:lnTo>
                    <a:pt x="861" y="367"/>
                  </a:lnTo>
                  <a:lnTo>
                    <a:pt x="856" y="375"/>
                  </a:lnTo>
                  <a:lnTo>
                    <a:pt x="856" y="378"/>
                  </a:lnTo>
                  <a:lnTo>
                    <a:pt x="856" y="382"/>
                  </a:lnTo>
                  <a:lnTo>
                    <a:pt x="856" y="382"/>
                  </a:lnTo>
                  <a:lnTo>
                    <a:pt x="856" y="388"/>
                  </a:lnTo>
                  <a:lnTo>
                    <a:pt x="856" y="392"/>
                  </a:lnTo>
                  <a:lnTo>
                    <a:pt x="856" y="395"/>
                  </a:lnTo>
                  <a:lnTo>
                    <a:pt x="856" y="397"/>
                  </a:lnTo>
                  <a:lnTo>
                    <a:pt x="856" y="397"/>
                  </a:lnTo>
                  <a:lnTo>
                    <a:pt x="859" y="399"/>
                  </a:lnTo>
                  <a:lnTo>
                    <a:pt x="862" y="399"/>
                  </a:lnTo>
                  <a:lnTo>
                    <a:pt x="866" y="399"/>
                  </a:lnTo>
                  <a:lnTo>
                    <a:pt x="869" y="400"/>
                  </a:lnTo>
                  <a:lnTo>
                    <a:pt x="869" y="400"/>
                  </a:lnTo>
                  <a:lnTo>
                    <a:pt x="872" y="400"/>
                  </a:lnTo>
                  <a:lnTo>
                    <a:pt x="876" y="399"/>
                  </a:lnTo>
                  <a:lnTo>
                    <a:pt x="887" y="396"/>
                  </a:lnTo>
                  <a:lnTo>
                    <a:pt x="887" y="396"/>
                  </a:lnTo>
                  <a:lnTo>
                    <a:pt x="894" y="396"/>
                  </a:lnTo>
                  <a:lnTo>
                    <a:pt x="904" y="399"/>
                  </a:lnTo>
                  <a:lnTo>
                    <a:pt x="917" y="406"/>
                  </a:lnTo>
                  <a:lnTo>
                    <a:pt x="917" y="406"/>
                  </a:lnTo>
                  <a:lnTo>
                    <a:pt x="920" y="408"/>
                  </a:lnTo>
                  <a:lnTo>
                    <a:pt x="922" y="411"/>
                  </a:lnTo>
                  <a:lnTo>
                    <a:pt x="922" y="414"/>
                  </a:lnTo>
                  <a:lnTo>
                    <a:pt x="923" y="418"/>
                  </a:lnTo>
                  <a:lnTo>
                    <a:pt x="923" y="418"/>
                  </a:lnTo>
                  <a:lnTo>
                    <a:pt x="923" y="419"/>
                  </a:lnTo>
                  <a:lnTo>
                    <a:pt x="923" y="421"/>
                  </a:lnTo>
                  <a:lnTo>
                    <a:pt x="920" y="422"/>
                  </a:lnTo>
                  <a:lnTo>
                    <a:pt x="917" y="425"/>
                  </a:lnTo>
                  <a:lnTo>
                    <a:pt x="916" y="426"/>
                  </a:lnTo>
                  <a:lnTo>
                    <a:pt x="916" y="429"/>
                  </a:lnTo>
                  <a:lnTo>
                    <a:pt x="916" y="429"/>
                  </a:lnTo>
                  <a:lnTo>
                    <a:pt x="916" y="432"/>
                  </a:lnTo>
                  <a:lnTo>
                    <a:pt x="919" y="433"/>
                  </a:lnTo>
                  <a:lnTo>
                    <a:pt x="924" y="438"/>
                  </a:lnTo>
                  <a:lnTo>
                    <a:pt x="930" y="439"/>
                  </a:lnTo>
                  <a:lnTo>
                    <a:pt x="934" y="442"/>
                  </a:lnTo>
                  <a:lnTo>
                    <a:pt x="934" y="442"/>
                  </a:lnTo>
                  <a:lnTo>
                    <a:pt x="931" y="442"/>
                  </a:lnTo>
                  <a:lnTo>
                    <a:pt x="927" y="442"/>
                  </a:lnTo>
                  <a:lnTo>
                    <a:pt x="916" y="440"/>
                  </a:lnTo>
                  <a:lnTo>
                    <a:pt x="916" y="440"/>
                  </a:lnTo>
                  <a:lnTo>
                    <a:pt x="913" y="438"/>
                  </a:lnTo>
                  <a:lnTo>
                    <a:pt x="912" y="435"/>
                  </a:lnTo>
                  <a:lnTo>
                    <a:pt x="909" y="431"/>
                  </a:lnTo>
                  <a:lnTo>
                    <a:pt x="909" y="431"/>
                  </a:lnTo>
                  <a:lnTo>
                    <a:pt x="909" y="428"/>
                  </a:lnTo>
                  <a:lnTo>
                    <a:pt x="911" y="425"/>
                  </a:lnTo>
                  <a:lnTo>
                    <a:pt x="912" y="422"/>
                  </a:lnTo>
                  <a:lnTo>
                    <a:pt x="913" y="418"/>
                  </a:lnTo>
                  <a:lnTo>
                    <a:pt x="913" y="418"/>
                  </a:lnTo>
                  <a:lnTo>
                    <a:pt x="912" y="415"/>
                  </a:lnTo>
                  <a:lnTo>
                    <a:pt x="911" y="413"/>
                  </a:lnTo>
                  <a:lnTo>
                    <a:pt x="905" y="408"/>
                  </a:lnTo>
                  <a:lnTo>
                    <a:pt x="905" y="408"/>
                  </a:lnTo>
                  <a:lnTo>
                    <a:pt x="901" y="404"/>
                  </a:lnTo>
                  <a:lnTo>
                    <a:pt x="898" y="403"/>
                  </a:lnTo>
                  <a:lnTo>
                    <a:pt x="895" y="403"/>
                  </a:lnTo>
                  <a:lnTo>
                    <a:pt x="895" y="403"/>
                  </a:lnTo>
                  <a:lnTo>
                    <a:pt x="883" y="404"/>
                  </a:lnTo>
                  <a:lnTo>
                    <a:pt x="876" y="406"/>
                  </a:lnTo>
                  <a:lnTo>
                    <a:pt x="872" y="408"/>
                  </a:lnTo>
                  <a:lnTo>
                    <a:pt x="872" y="408"/>
                  </a:lnTo>
                  <a:lnTo>
                    <a:pt x="870" y="411"/>
                  </a:lnTo>
                  <a:lnTo>
                    <a:pt x="869" y="413"/>
                  </a:lnTo>
                  <a:lnTo>
                    <a:pt x="870" y="419"/>
                  </a:lnTo>
                  <a:lnTo>
                    <a:pt x="874" y="431"/>
                  </a:lnTo>
                  <a:lnTo>
                    <a:pt x="874" y="431"/>
                  </a:lnTo>
                  <a:lnTo>
                    <a:pt x="874" y="433"/>
                  </a:lnTo>
                  <a:lnTo>
                    <a:pt x="873" y="435"/>
                  </a:lnTo>
                  <a:lnTo>
                    <a:pt x="869" y="440"/>
                  </a:lnTo>
                  <a:lnTo>
                    <a:pt x="863" y="444"/>
                  </a:lnTo>
                  <a:lnTo>
                    <a:pt x="862" y="447"/>
                  </a:lnTo>
                  <a:lnTo>
                    <a:pt x="862" y="449"/>
                  </a:lnTo>
                  <a:lnTo>
                    <a:pt x="862" y="449"/>
                  </a:lnTo>
                  <a:lnTo>
                    <a:pt x="861" y="451"/>
                  </a:lnTo>
                  <a:lnTo>
                    <a:pt x="858" y="454"/>
                  </a:lnTo>
                  <a:lnTo>
                    <a:pt x="849" y="460"/>
                  </a:lnTo>
                  <a:lnTo>
                    <a:pt x="849" y="460"/>
                  </a:lnTo>
                  <a:lnTo>
                    <a:pt x="840" y="465"/>
                  </a:lnTo>
                  <a:lnTo>
                    <a:pt x="837" y="468"/>
                  </a:lnTo>
                  <a:lnTo>
                    <a:pt x="836" y="472"/>
                  </a:lnTo>
                  <a:lnTo>
                    <a:pt x="836" y="472"/>
                  </a:lnTo>
                  <a:lnTo>
                    <a:pt x="834" y="474"/>
                  </a:lnTo>
                  <a:lnTo>
                    <a:pt x="834" y="475"/>
                  </a:lnTo>
                  <a:lnTo>
                    <a:pt x="830" y="475"/>
                  </a:lnTo>
                  <a:lnTo>
                    <a:pt x="826" y="474"/>
                  </a:lnTo>
                  <a:lnTo>
                    <a:pt x="822" y="472"/>
                  </a:lnTo>
                  <a:lnTo>
                    <a:pt x="822" y="472"/>
                  </a:lnTo>
                  <a:lnTo>
                    <a:pt x="818" y="471"/>
                  </a:lnTo>
                  <a:lnTo>
                    <a:pt x="813" y="472"/>
                  </a:lnTo>
                  <a:lnTo>
                    <a:pt x="808" y="472"/>
                  </a:lnTo>
                  <a:lnTo>
                    <a:pt x="804" y="474"/>
                  </a:lnTo>
                  <a:lnTo>
                    <a:pt x="804" y="474"/>
                  </a:lnTo>
                  <a:lnTo>
                    <a:pt x="799" y="472"/>
                  </a:lnTo>
                  <a:lnTo>
                    <a:pt x="797" y="471"/>
                  </a:lnTo>
                  <a:lnTo>
                    <a:pt x="794" y="469"/>
                  </a:lnTo>
                  <a:lnTo>
                    <a:pt x="791" y="469"/>
                  </a:lnTo>
                  <a:lnTo>
                    <a:pt x="791" y="469"/>
                  </a:lnTo>
                  <a:lnTo>
                    <a:pt x="787" y="469"/>
                  </a:lnTo>
                  <a:lnTo>
                    <a:pt x="784" y="468"/>
                  </a:lnTo>
                  <a:lnTo>
                    <a:pt x="783" y="465"/>
                  </a:lnTo>
                  <a:lnTo>
                    <a:pt x="783" y="463"/>
                  </a:lnTo>
                  <a:lnTo>
                    <a:pt x="783" y="463"/>
                  </a:lnTo>
                  <a:lnTo>
                    <a:pt x="784" y="461"/>
                  </a:lnTo>
                  <a:lnTo>
                    <a:pt x="787" y="461"/>
                  </a:lnTo>
                  <a:lnTo>
                    <a:pt x="790" y="463"/>
                  </a:lnTo>
                  <a:lnTo>
                    <a:pt x="791" y="465"/>
                  </a:lnTo>
                  <a:lnTo>
                    <a:pt x="791" y="465"/>
                  </a:lnTo>
                  <a:lnTo>
                    <a:pt x="793" y="467"/>
                  </a:lnTo>
                  <a:lnTo>
                    <a:pt x="794" y="467"/>
                  </a:lnTo>
                  <a:lnTo>
                    <a:pt x="801" y="464"/>
                  </a:lnTo>
                  <a:lnTo>
                    <a:pt x="801" y="464"/>
                  </a:lnTo>
                  <a:lnTo>
                    <a:pt x="802" y="463"/>
                  </a:lnTo>
                  <a:lnTo>
                    <a:pt x="804" y="464"/>
                  </a:lnTo>
                  <a:lnTo>
                    <a:pt x="805" y="467"/>
                  </a:lnTo>
                  <a:lnTo>
                    <a:pt x="809" y="468"/>
                  </a:lnTo>
                  <a:lnTo>
                    <a:pt x="809" y="468"/>
                  </a:lnTo>
                  <a:lnTo>
                    <a:pt x="812" y="467"/>
                  </a:lnTo>
                  <a:lnTo>
                    <a:pt x="813" y="465"/>
                  </a:lnTo>
                  <a:lnTo>
                    <a:pt x="815" y="465"/>
                  </a:lnTo>
                  <a:lnTo>
                    <a:pt x="818" y="464"/>
                  </a:lnTo>
                  <a:lnTo>
                    <a:pt x="818" y="464"/>
                  </a:lnTo>
                  <a:lnTo>
                    <a:pt x="820" y="464"/>
                  </a:lnTo>
                  <a:lnTo>
                    <a:pt x="822" y="464"/>
                  </a:lnTo>
                  <a:lnTo>
                    <a:pt x="822" y="463"/>
                  </a:lnTo>
                  <a:lnTo>
                    <a:pt x="822" y="461"/>
                  </a:lnTo>
                  <a:lnTo>
                    <a:pt x="822" y="461"/>
                  </a:lnTo>
                  <a:lnTo>
                    <a:pt x="822" y="458"/>
                  </a:lnTo>
                  <a:lnTo>
                    <a:pt x="823" y="457"/>
                  </a:lnTo>
                  <a:lnTo>
                    <a:pt x="829" y="456"/>
                  </a:lnTo>
                  <a:lnTo>
                    <a:pt x="829" y="456"/>
                  </a:lnTo>
                  <a:lnTo>
                    <a:pt x="830" y="453"/>
                  </a:lnTo>
                  <a:lnTo>
                    <a:pt x="830" y="451"/>
                  </a:lnTo>
                  <a:lnTo>
                    <a:pt x="831" y="449"/>
                  </a:lnTo>
                  <a:lnTo>
                    <a:pt x="833" y="447"/>
                  </a:lnTo>
                  <a:lnTo>
                    <a:pt x="833" y="447"/>
                  </a:lnTo>
                  <a:lnTo>
                    <a:pt x="834" y="446"/>
                  </a:lnTo>
                  <a:lnTo>
                    <a:pt x="834" y="443"/>
                  </a:lnTo>
                  <a:lnTo>
                    <a:pt x="836" y="442"/>
                  </a:lnTo>
                  <a:lnTo>
                    <a:pt x="837" y="442"/>
                  </a:lnTo>
                  <a:lnTo>
                    <a:pt x="837" y="442"/>
                  </a:lnTo>
                  <a:lnTo>
                    <a:pt x="840" y="440"/>
                  </a:lnTo>
                  <a:lnTo>
                    <a:pt x="841" y="439"/>
                  </a:lnTo>
                  <a:lnTo>
                    <a:pt x="843" y="438"/>
                  </a:lnTo>
                  <a:lnTo>
                    <a:pt x="845" y="436"/>
                  </a:lnTo>
                  <a:lnTo>
                    <a:pt x="845" y="436"/>
                  </a:lnTo>
                  <a:lnTo>
                    <a:pt x="847" y="436"/>
                  </a:lnTo>
                  <a:lnTo>
                    <a:pt x="848" y="433"/>
                  </a:lnTo>
                  <a:lnTo>
                    <a:pt x="848" y="431"/>
                  </a:lnTo>
                  <a:lnTo>
                    <a:pt x="848" y="429"/>
                  </a:lnTo>
                  <a:lnTo>
                    <a:pt x="848" y="429"/>
                  </a:lnTo>
                  <a:lnTo>
                    <a:pt x="847" y="426"/>
                  </a:lnTo>
                  <a:lnTo>
                    <a:pt x="848" y="424"/>
                  </a:lnTo>
                  <a:lnTo>
                    <a:pt x="849" y="421"/>
                  </a:lnTo>
                  <a:lnTo>
                    <a:pt x="852" y="418"/>
                  </a:lnTo>
                  <a:lnTo>
                    <a:pt x="852" y="418"/>
                  </a:lnTo>
                  <a:lnTo>
                    <a:pt x="854" y="418"/>
                  </a:lnTo>
                  <a:lnTo>
                    <a:pt x="854" y="417"/>
                  </a:lnTo>
                  <a:lnTo>
                    <a:pt x="854" y="414"/>
                  </a:lnTo>
                  <a:lnTo>
                    <a:pt x="852" y="413"/>
                  </a:lnTo>
                  <a:lnTo>
                    <a:pt x="852" y="413"/>
                  </a:lnTo>
                  <a:lnTo>
                    <a:pt x="845" y="407"/>
                  </a:lnTo>
                  <a:lnTo>
                    <a:pt x="841" y="403"/>
                  </a:lnTo>
                  <a:lnTo>
                    <a:pt x="840" y="400"/>
                  </a:lnTo>
                  <a:lnTo>
                    <a:pt x="840" y="400"/>
                  </a:lnTo>
                  <a:lnTo>
                    <a:pt x="840" y="392"/>
                  </a:lnTo>
                  <a:lnTo>
                    <a:pt x="838" y="386"/>
                  </a:lnTo>
                  <a:lnTo>
                    <a:pt x="840" y="383"/>
                  </a:lnTo>
                  <a:lnTo>
                    <a:pt x="840" y="383"/>
                  </a:lnTo>
                  <a:lnTo>
                    <a:pt x="840" y="376"/>
                  </a:lnTo>
                  <a:lnTo>
                    <a:pt x="840" y="368"/>
                  </a:lnTo>
                  <a:lnTo>
                    <a:pt x="840" y="368"/>
                  </a:lnTo>
                  <a:lnTo>
                    <a:pt x="840" y="365"/>
                  </a:lnTo>
                  <a:lnTo>
                    <a:pt x="840" y="361"/>
                  </a:lnTo>
                  <a:lnTo>
                    <a:pt x="843" y="353"/>
                  </a:lnTo>
                  <a:lnTo>
                    <a:pt x="843" y="353"/>
                  </a:lnTo>
                  <a:lnTo>
                    <a:pt x="843" y="349"/>
                  </a:lnTo>
                  <a:lnTo>
                    <a:pt x="843" y="346"/>
                  </a:lnTo>
                  <a:lnTo>
                    <a:pt x="838" y="342"/>
                  </a:lnTo>
                  <a:lnTo>
                    <a:pt x="834" y="338"/>
                  </a:lnTo>
                  <a:lnTo>
                    <a:pt x="830" y="335"/>
                  </a:lnTo>
                  <a:lnTo>
                    <a:pt x="830" y="335"/>
                  </a:lnTo>
                  <a:lnTo>
                    <a:pt x="829" y="332"/>
                  </a:lnTo>
                  <a:lnTo>
                    <a:pt x="829" y="329"/>
                  </a:lnTo>
                  <a:lnTo>
                    <a:pt x="831" y="326"/>
                  </a:lnTo>
                  <a:lnTo>
                    <a:pt x="836" y="322"/>
                  </a:lnTo>
                  <a:lnTo>
                    <a:pt x="836" y="322"/>
                  </a:lnTo>
                  <a:lnTo>
                    <a:pt x="837" y="320"/>
                  </a:lnTo>
                  <a:lnTo>
                    <a:pt x="840" y="317"/>
                  </a:lnTo>
                  <a:lnTo>
                    <a:pt x="841" y="308"/>
                  </a:lnTo>
                  <a:lnTo>
                    <a:pt x="843" y="302"/>
                  </a:lnTo>
                  <a:lnTo>
                    <a:pt x="843" y="296"/>
                  </a:lnTo>
                  <a:lnTo>
                    <a:pt x="843" y="296"/>
                  </a:lnTo>
                  <a:lnTo>
                    <a:pt x="840" y="293"/>
                  </a:lnTo>
                  <a:lnTo>
                    <a:pt x="834" y="292"/>
                  </a:lnTo>
                  <a:lnTo>
                    <a:pt x="827" y="290"/>
                  </a:lnTo>
                  <a:lnTo>
                    <a:pt x="823" y="289"/>
                  </a:lnTo>
                  <a:lnTo>
                    <a:pt x="823" y="289"/>
                  </a:lnTo>
                  <a:lnTo>
                    <a:pt x="808" y="289"/>
                  </a:lnTo>
                  <a:lnTo>
                    <a:pt x="793" y="288"/>
                  </a:lnTo>
                  <a:lnTo>
                    <a:pt x="793" y="288"/>
                  </a:lnTo>
                  <a:lnTo>
                    <a:pt x="790" y="289"/>
                  </a:lnTo>
                  <a:lnTo>
                    <a:pt x="787" y="290"/>
                  </a:lnTo>
                  <a:lnTo>
                    <a:pt x="784" y="297"/>
                  </a:lnTo>
                  <a:lnTo>
                    <a:pt x="784" y="297"/>
                  </a:lnTo>
                  <a:lnTo>
                    <a:pt x="779" y="306"/>
                  </a:lnTo>
                  <a:lnTo>
                    <a:pt x="776" y="313"/>
                  </a:lnTo>
                  <a:lnTo>
                    <a:pt x="773" y="320"/>
                  </a:lnTo>
                  <a:lnTo>
                    <a:pt x="773" y="320"/>
                  </a:lnTo>
                  <a:lnTo>
                    <a:pt x="772" y="322"/>
                  </a:lnTo>
                  <a:lnTo>
                    <a:pt x="770" y="325"/>
                  </a:lnTo>
                  <a:lnTo>
                    <a:pt x="765" y="331"/>
                  </a:lnTo>
                  <a:lnTo>
                    <a:pt x="752" y="335"/>
                  </a:lnTo>
                  <a:lnTo>
                    <a:pt x="752" y="335"/>
                  </a:lnTo>
                  <a:lnTo>
                    <a:pt x="750" y="338"/>
                  </a:lnTo>
                  <a:lnTo>
                    <a:pt x="747" y="342"/>
                  </a:lnTo>
                  <a:lnTo>
                    <a:pt x="745" y="346"/>
                  </a:lnTo>
                  <a:lnTo>
                    <a:pt x="747" y="349"/>
                  </a:lnTo>
                  <a:lnTo>
                    <a:pt x="747" y="349"/>
                  </a:lnTo>
                  <a:lnTo>
                    <a:pt x="748" y="350"/>
                  </a:lnTo>
                  <a:lnTo>
                    <a:pt x="751" y="350"/>
                  </a:lnTo>
                  <a:lnTo>
                    <a:pt x="754" y="350"/>
                  </a:lnTo>
                  <a:lnTo>
                    <a:pt x="755" y="351"/>
                  </a:lnTo>
                  <a:lnTo>
                    <a:pt x="755" y="351"/>
                  </a:lnTo>
                  <a:lnTo>
                    <a:pt x="756" y="353"/>
                  </a:lnTo>
                  <a:lnTo>
                    <a:pt x="756" y="357"/>
                  </a:lnTo>
                  <a:lnTo>
                    <a:pt x="754" y="364"/>
                  </a:lnTo>
                  <a:lnTo>
                    <a:pt x="754" y="364"/>
                  </a:lnTo>
                  <a:lnTo>
                    <a:pt x="754" y="365"/>
                  </a:lnTo>
                  <a:lnTo>
                    <a:pt x="754" y="367"/>
                  </a:lnTo>
                  <a:lnTo>
                    <a:pt x="754" y="368"/>
                  </a:lnTo>
                  <a:lnTo>
                    <a:pt x="752" y="371"/>
                  </a:lnTo>
                  <a:lnTo>
                    <a:pt x="752" y="371"/>
                  </a:lnTo>
                  <a:lnTo>
                    <a:pt x="750" y="374"/>
                  </a:lnTo>
                  <a:lnTo>
                    <a:pt x="747" y="376"/>
                  </a:lnTo>
                  <a:lnTo>
                    <a:pt x="747" y="379"/>
                  </a:lnTo>
                  <a:lnTo>
                    <a:pt x="747" y="382"/>
                  </a:lnTo>
                  <a:lnTo>
                    <a:pt x="747" y="382"/>
                  </a:lnTo>
                  <a:lnTo>
                    <a:pt x="751" y="383"/>
                  </a:lnTo>
                  <a:lnTo>
                    <a:pt x="755" y="385"/>
                  </a:lnTo>
                  <a:lnTo>
                    <a:pt x="766" y="389"/>
                  </a:lnTo>
                  <a:lnTo>
                    <a:pt x="766" y="389"/>
                  </a:lnTo>
                  <a:lnTo>
                    <a:pt x="768" y="390"/>
                  </a:lnTo>
                  <a:lnTo>
                    <a:pt x="769" y="395"/>
                  </a:lnTo>
                  <a:lnTo>
                    <a:pt x="770" y="397"/>
                  </a:lnTo>
                  <a:lnTo>
                    <a:pt x="772" y="401"/>
                  </a:lnTo>
                  <a:lnTo>
                    <a:pt x="772" y="401"/>
                  </a:lnTo>
                  <a:lnTo>
                    <a:pt x="774" y="403"/>
                  </a:lnTo>
                  <a:lnTo>
                    <a:pt x="777" y="404"/>
                  </a:lnTo>
                  <a:lnTo>
                    <a:pt x="780" y="404"/>
                  </a:lnTo>
                  <a:lnTo>
                    <a:pt x="781" y="406"/>
                  </a:lnTo>
                  <a:lnTo>
                    <a:pt x="781" y="406"/>
                  </a:lnTo>
                  <a:lnTo>
                    <a:pt x="781" y="410"/>
                  </a:lnTo>
                  <a:lnTo>
                    <a:pt x="779" y="414"/>
                  </a:lnTo>
                  <a:lnTo>
                    <a:pt x="774" y="419"/>
                  </a:lnTo>
                  <a:lnTo>
                    <a:pt x="772" y="421"/>
                  </a:lnTo>
                  <a:lnTo>
                    <a:pt x="772" y="421"/>
                  </a:lnTo>
                  <a:lnTo>
                    <a:pt x="769" y="419"/>
                  </a:lnTo>
                  <a:lnTo>
                    <a:pt x="763" y="415"/>
                  </a:lnTo>
                  <a:lnTo>
                    <a:pt x="754" y="407"/>
                  </a:lnTo>
                  <a:lnTo>
                    <a:pt x="754" y="407"/>
                  </a:lnTo>
                  <a:lnTo>
                    <a:pt x="741" y="401"/>
                  </a:lnTo>
                  <a:lnTo>
                    <a:pt x="727" y="396"/>
                  </a:lnTo>
                  <a:lnTo>
                    <a:pt x="727" y="396"/>
                  </a:lnTo>
                  <a:lnTo>
                    <a:pt x="718" y="392"/>
                  </a:lnTo>
                  <a:lnTo>
                    <a:pt x="712" y="390"/>
                  </a:lnTo>
                  <a:lnTo>
                    <a:pt x="706" y="388"/>
                  </a:lnTo>
                  <a:lnTo>
                    <a:pt x="706" y="388"/>
                  </a:lnTo>
                  <a:lnTo>
                    <a:pt x="701" y="383"/>
                  </a:lnTo>
                  <a:lnTo>
                    <a:pt x="695" y="381"/>
                  </a:lnTo>
                  <a:lnTo>
                    <a:pt x="687" y="379"/>
                  </a:lnTo>
                  <a:lnTo>
                    <a:pt x="679" y="379"/>
                  </a:lnTo>
                  <a:lnTo>
                    <a:pt x="679" y="379"/>
                  </a:lnTo>
                  <a:lnTo>
                    <a:pt x="668" y="379"/>
                  </a:lnTo>
                  <a:lnTo>
                    <a:pt x="661" y="378"/>
                  </a:lnTo>
                  <a:lnTo>
                    <a:pt x="654" y="376"/>
                  </a:lnTo>
                  <a:lnTo>
                    <a:pt x="650" y="376"/>
                  </a:lnTo>
                  <a:lnTo>
                    <a:pt x="650" y="376"/>
                  </a:lnTo>
                  <a:lnTo>
                    <a:pt x="647" y="376"/>
                  </a:lnTo>
                  <a:lnTo>
                    <a:pt x="645" y="374"/>
                  </a:lnTo>
                  <a:lnTo>
                    <a:pt x="643" y="371"/>
                  </a:lnTo>
                  <a:lnTo>
                    <a:pt x="638" y="368"/>
                  </a:lnTo>
                  <a:lnTo>
                    <a:pt x="638" y="368"/>
                  </a:lnTo>
                  <a:lnTo>
                    <a:pt x="627" y="363"/>
                  </a:lnTo>
                  <a:lnTo>
                    <a:pt x="623" y="361"/>
                  </a:lnTo>
                  <a:lnTo>
                    <a:pt x="619" y="363"/>
                  </a:lnTo>
                  <a:lnTo>
                    <a:pt x="619" y="363"/>
                  </a:lnTo>
                  <a:lnTo>
                    <a:pt x="616" y="365"/>
                  </a:lnTo>
                  <a:lnTo>
                    <a:pt x="616" y="370"/>
                  </a:lnTo>
                  <a:lnTo>
                    <a:pt x="619" y="372"/>
                  </a:lnTo>
                  <a:lnTo>
                    <a:pt x="623" y="375"/>
                  </a:lnTo>
                  <a:lnTo>
                    <a:pt x="623" y="375"/>
                  </a:lnTo>
                  <a:lnTo>
                    <a:pt x="627" y="376"/>
                  </a:lnTo>
                  <a:lnTo>
                    <a:pt x="629" y="378"/>
                  </a:lnTo>
                  <a:lnTo>
                    <a:pt x="631" y="379"/>
                  </a:lnTo>
                  <a:lnTo>
                    <a:pt x="636" y="379"/>
                  </a:lnTo>
                  <a:lnTo>
                    <a:pt x="636" y="379"/>
                  </a:lnTo>
                  <a:lnTo>
                    <a:pt x="640" y="379"/>
                  </a:lnTo>
                  <a:lnTo>
                    <a:pt x="643" y="381"/>
                  </a:lnTo>
                  <a:lnTo>
                    <a:pt x="644" y="383"/>
                  </a:lnTo>
                  <a:lnTo>
                    <a:pt x="645" y="386"/>
                  </a:lnTo>
                  <a:lnTo>
                    <a:pt x="645" y="386"/>
                  </a:lnTo>
                  <a:lnTo>
                    <a:pt x="645" y="390"/>
                  </a:lnTo>
                  <a:lnTo>
                    <a:pt x="647" y="393"/>
                  </a:lnTo>
                  <a:lnTo>
                    <a:pt x="652" y="400"/>
                  </a:lnTo>
                  <a:lnTo>
                    <a:pt x="652" y="400"/>
                  </a:lnTo>
                  <a:lnTo>
                    <a:pt x="654" y="403"/>
                  </a:lnTo>
                  <a:lnTo>
                    <a:pt x="654" y="406"/>
                  </a:lnTo>
                  <a:lnTo>
                    <a:pt x="651" y="407"/>
                  </a:lnTo>
                  <a:lnTo>
                    <a:pt x="647" y="408"/>
                  </a:lnTo>
                  <a:lnTo>
                    <a:pt x="647" y="408"/>
                  </a:lnTo>
                  <a:lnTo>
                    <a:pt x="638" y="410"/>
                  </a:lnTo>
                  <a:lnTo>
                    <a:pt x="636" y="411"/>
                  </a:lnTo>
                  <a:lnTo>
                    <a:pt x="637" y="414"/>
                  </a:lnTo>
                  <a:lnTo>
                    <a:pt x="637" y="414"/>
                  </a:lnTo>
                  <a:lnTo>
                    <a:pt x="637" y="417"/>
                  </a:lnTo>
                  <a:lnTo>
                    <a:pt x="636" y="418"/>
                  </a:lnTo>
                  <a:lnTo>
                    <a:pt x="633" y="418"/>
                  </a:lnTo>
                  <a:lnTo>
                    <a:pt x="629" y="417"/>
                  </a:lnTo>
                  <a:lnTo>
                    <a:pt x="629" y="417"/>
                  </a:lnTo>
                  <a:lnTo>
                    <a:pt x="626" y="415"/>
                  </a:lnTo>
                  <a:lnTo>
                    <a:pt x="626" y="413"/>
                  </a:lnTo>
                  <a:lnTo>
                    <a:pt x="626" y="410"/>
                  </a:lnTo>
                  <a:lnTo>
                    <a:pt x="629" y="407"/>
                  </a:lnTo>
                  <a:lnTo>
                    <a:pt x="629" y="407"/>
                  </a:lnTo>
                  <a:lnTo>
                    <a:pt x="629" y="407"/>
                  </a:lnTo>
                  <a:lnTo>
                    <a:pt x="629" y="406"/>
                  </a:lnTo>
                  <a:lnTo>
                    <a:pt x="626" y="403"/>
                  </a:lnTo>
                  <a:lnTo>
                    <a:pt x="619" y="400"/>
                  </a:lnTo>
                  <a:lnTo>
                    <a:pt x="619" y="400"/>
                  </a:lnTo>
                  <a:lnTo>
                    <a:pt x="615" y="401"/>
                  </a:lnTo>
                  <a:lnTo>
                    <a:pt x="608" y="406"/>
                  </a:lnTo>
                  <a:lnTo>
                    <a:pt x="595" y="413"/>
                  </a:lnTo>
                  <a:lnTo>
                    <a:pt x="595" y="413"/>
                  </a:lnTo>
                  <a:lnTo>
                    <a:pt x="591" y="413"/>
                  </a:lnTo>
                  <a:lnTo>
                    <a:pt x="584" y="413"/>
                  </a:lnTo>
                  <a:lnTo>
                    <a:pt x="577" y="411"/>
                  </a:lnTo>
                  <a:lnTo>
                    <a:pt x="569" y="413"/>
                  </a:lnTo>
                  <a:lnTo>
                    <a:pt x="569" y="413"/>
                  </a:lnTo>
                  <a:lnTo>
                    <a:pt x="562" y="415"/>
                  </a:lnTo>
                  <a:lnTo>
                    <a:pt x="559" y="419"/>
                  </a:lnTo>
                  <a:lnTo>
                    <a:pt x="557" y="422"/>
                  </a:lnTo>
                  <a:lnTo>
                    <a:pt x="555" y="422"/>
                  </a:lnTo>
                  <a:lnTo>
                    <a:pt x="554" y="424"/>
                  </a:lnTo>
                  <a:lnTo>
                    <a:pt x="554" y="424"/>
                  </a:lnTo>
                  <a:lnTo>
                    <a:pt x="544" y="422"/>
                  </a:lnTo>
                  <a:lnTo>
                    <a:pt x="537" y="422"/>
                  </a:lnTo>
                  <a:lnTo>
                    <a:pt x="533" y="421"/>
                  </a:lnTo>
                  <a:lnTo>
                    <a:pt x="533" y="421"/>
                  </a:lnTo>
                  <a:lnTo>
                    <a:pt x="532" y="419"/>
                  </a:lnTo>
                  <a:lnTo>
                    <a:pt x="532" y="418"/>
                  </a:lnTo>
                  <a:lnTo>
                    <a:pt x="537" y="417"/>
                  </a:lnTo>
                  <a:lnTo>
                    <a:pt x="537" y="417"/>
                  </a:lnTo>
                  <a:lnTo>
                    <a:pt x="540" y="417"/>
                  </a:lnTo>
                  <a:lnTo>
                    <a:pt x="541" y="417"/>
                  </a:lnTo>
                  <a:lnTo>
                    <a:pt x="541" y="415"/>
                  </a:lnTo>
                  <a:lnTo>
                    <a:pt x="541" y="413"/>
                  </a:lnTo>
                  <a:lnTo>
                    <a:pt x="541" y="413"/>
                  </a:lnTo>
                  <a:lnTo>
                    <a:pt x="540" y="410"/>
                  </a:lnTo>
                  <a:lnTo>
                    <a:pt x="541" y="407"/>
                  </a:lnTo>
                  <a:lnTo>
                    <a:pt x="543" y="404"/>
                  </a:lnTo>
                  <a:lnTo>
                    <a:pt x="544" y="401"/>
                  </a:lnTo>
                  <a:lnTo>
                    <a:pt x="544" y="401"/>
                  </a:lnTo>
                  <a:lnTo>
                    <a:pt x="543" y="401"/>
                  </a:lnTo>
                  <a:lnTo>
                    <a:pt x="541" y="401"/>
                  </a:lnTo>
                  <a:lnTo>
                    <a:pt x="534" y="403"/>
                  </a:lnTo>
                  <a:lnTo>
                    <a:pt x="527" y="406"/>
                  </a:lnTo>
                  <a:lnTo>
                    <a:pt x="523" y="408"/>
                  </a:lnTo>
                  <a:lnTo>
                    <a:pt x="523" y="408"/>
                  </a:lnTo>
                  <a:lnTo>
                    <a:pt x="522" y="410"/>
                  </a:lnTo>
                  <a:lnTo>
                    <a:pt x="522" y="413"/>
                  </a:lnTo>
                  <a:lnTo>
                    <a:pt x="522" y="415"/>
                  </a:lnTo>
                  <a:lnTo>
                    <a:pt x="520" y="417"/>
                  </a:lnTo>
                  <a:lnTo>
                    <a:pt x="520" y="417"/>
                  </a:lnTo>
                  <a:lnTo>
                    <a:pt x="518" y="417"/>
                  </a:lnTo>
                  <a:lnTo>
                    <a:pt x="516" y="417"/>
                  </a:lnTo>
                  <a:lnTo>
                    <a:pt x="515" y="414"/>
                  </a:lnTo>
                  <a:lnTo>
                    <a:pt x="513" y="413"/>
                  </a:lnTo>
                  <a:lnTo>
                    <a:pt x="513" y="413"/>
                  </a:lnTo>
                  <a:lnTo>
                    <a:pt x="507" y="413"/>
                  </a:lnTo>
                  <a:lnTo>
                    <a:pt x="495" y="415"/>
                  </a:lnTo>
                  <a:lnTo>
                    <a:pt x="484" y="419"/>
                  </a:lnTo>
                  <a:lnTo>
                    <a:pt x="480" y="421"/>
                  </a:lnTo>
                  <a:lnTo>
                    <a:pt x="477" y="424"/>
                  </a:lnTo>
                  <a:lnTo>
                    <a:pt x="477" y="424"/>
                  </a:lnTo>
                  <a:lnTo>
                    <a:pt x="472" y="426"/>
                  </a:lnTo>
                  <a:lnTo>
                    <a:pt x="468" y="429"/>
                  </a:lnTo>
                  <a:lnTo>
                    <a:pt x="464" y="431"/>
                  </a:lnTo>
                  <a:lnTo>
                    <a:pt x="462" y="433"/>
                  </a:lnTo>
                  <a:lnTo>
                    <a:pt x="462" y="433"/>
                  </a:lnTo>
                  <a:lnTo>
                    <a:pt x="461" y="433"/>
                  </a:lnTo>
                  <a:lnTo>
                    <a:pt x="459" y="435"/>
                  </a:lnTo>
                  <a:lnTo>
                    <a:pt x="455" y="436"/>
                  </a:lnTo>
                  <a:lnTo>
                    <a:pt x="450" y="436"/>
                  </a:lnTo>
                  <a:lnTo>
                    <a:pt x="445" y="438"/>
                  </a:lnTo>
                  <a:lnTo>
                    <a:pt x="445" y="438"/>
                  </a:lnTo>
                  <a:lnTo>
                    <a:pt x="443" y="439"/>
                  </a:lnTo>
                  <a:lnTo>
                    <a:pt x="443" y="440"/>
                  </a:lnTo>
                  <a:lnTo>
                    <a:pt x="441" y="446"/>
                  </a:lnTo>
                  <a:lnTo>
                    <a:pt x="443" y="450"/>
                  </a:lnTo>
                  <a:lnTo>
                    <a:pt x="441" y="454"/>
                  </a:lnTo>
                  <a:lnTo>
                    <a:pt x="441" y="454"/>
                  </a:lnTo>
                  <a:lnTo>
                    <a:pt x="440" y="456"/>
                  </a:lnTo>
                  <a:lnTo>
                    <a:pt x="437" y="457"/>
                  </a:lnTo>
                  <a:lnTo>
                    <a:pt x="430" y="458"/>
                  </a:lnTo>
                  <a:lnTo>
                    <a:pt x="415" y="458"/>
                  </a:lnTo>
                  <a:lnTo>
                    <a:pt x="415" y="458"/>
                  </a:lnTo>
                  <a:lnTo>
                    <a:pt x="412" y="457"/>
                  </a:lnTo>
                  <a:lnTo>
                    <a:pt x="411" y="457"/>
                  </a:lnTo>
                  <a:lnTo>
                    <a:pt x="408" y="453"/>
                  </a:lnTo>
                  <a:lnTo>
                    <a:pt x="405" y="449"/>
                  </a:lnTo>
                  <a:lnTo>
                    <a:pt x="402" y="446"/>
                  </a:lnTo>
                  <a:lnTo>
                    <a:pt x="402" y="446"/>
                  </a:lnTo>
                  <a:lnTo>
                    <a:pt x="400" y="444"/>
                  </a:lnTo>
                  <a:lnTo>
                    <a:pt x="400" y="442"/>
                  </a:lnTo>
                  <a:lnTo>
                    <a:pt x="402" y="436"/>
                  </a:lnTo>
                  <a:lnTo>
                    <a:pt x="402" y="436"/>
                  </a:lnTo>
                  <a:lnTo>
                    <a:pt x="404" y="435"/>
                  </a:lnTo>
                  <a:lnTo>
                    <a:pt x="405" y="435"/>
                  </a:lnTo>
                  <a:lnTo>
                    <a:pt x="409" y="433"/>
                  </a:lnTo>
                  <a:lnTo>
                    <a:pt x="412" y="432"/>
                  </a:lnTo>
                  <a:lnTo>
                    <a:pt x="412" y="432"/>
                  </a:lnTo>
                  <a:lnTo>
                    <a:pt x="416" y="431"/>
                  </a:lnTo>
                  <a:lnTo>
                    <a:pt x="420" y="431"/>
                  </a:lnTo>
                  <a:lnTo>
                    <a:pt x="425" y="432"/>
                  </a:lnTo>
                  <a:lnTo>
                    <a:pt x="426" y="432"/>
                  </a:lnTo>
                  <a:lnTo>
                    <a:pt x="426" y="432"/>
                  </a:lnTo>
                  <a:lnTo>
                    <a:pt x="427" y="431"/>
                  </a:lnTo>
                  <a:lnTo>
                    <a:pt x="426" y="429"/>
                  </a:lnTo>
                  <a:lnTo>
                    <a:pt x="423" y="425"/>
                  </a:lnTo>
                  <a:lnTo>
                    <a:pt x="419" y="421"/>
                  </a:lnTo>
                  <a:lnTo>
                    <a:pt x="418" y="417"/>
                  </a:lnTo>
                  <a:lnTo>
                    <a:pt x="418" y="417"/>
                  </a:lnTo>
                  <a:lnTo>
                    <a:pt x="416" y="414"/>
                  </a:lnTo>
                  <a:lnTo>
                    <a:pt x="415" y="413"/>
                  </a:lnTo>
                  <a:lnTo>
                    <a:pt x="409" y="411"/>
                  </a:lnTo>
                  <a:lnTo>
                    <a:pt x="402" y="410"/>
                  </a:lnTo>
                  <a:lnTo>
                    <a:pt x="397" y="411"/>
                  </a:lnTo>
                  <a:lnTo>
                    <a:pt x="397" y="411"/>
                  </a:lnTo>
                  <a:lnTo>
                    <a:pt x="391" y="411"/>
                  </a:lnTo>
                  <a:lnTo>
                    <a:pt x="387" y="411"/>
                  </a:lnTo>
                  <a:lnTo>
                    <a:pt x="377" y="408"/>
                  </a:lnTo>
                  <a:lnTo>
                    <a:pt x="377" y="408"/>
                  </a:lnTo>
                  <a:lnTo>
                    <a:pt x="375" y="408"/>
                  </a:lnTo>
                  <a:lnTo>
                    <a:pt x="375" y="410"/>
                  </a:lnTo>
                  <a:lnTo>
                    <a:pt x="376" y="413"/>
                  </a:lnTo>
                  <a:lnTo>
                    <a:pt x="380" y="415"/>
                  </a:lnTo>
                  <a:lnTo>
                    <a:pt x="380" y="415"/>
                  </a:lnTo>
                  <a:lnTo>
                    <a:pt x="384" y="417"/>
                  </a:lnTo>
                  <a:lnTo>
                    <a:pt x="386" y="419"/>
                  </a:lnTo>
                  <a:lnTo>
                    <a:pt x="384" y="422"/>
                  </a:lnTo>
                  <a:lnTo>
                    <a:pt x="386" y="425"/>
                  </a:lnTo>
                  <a:lnTo>
                    <a:pt x="386" y="425"/>
                  </a:lnTo>
                  <a:lnTo>
                    <a:pt x="386" y="429"/>
                  </a:lnTo>
                  <a:lnTo>
                    <a:pt x="384" y="433"/>
                  </a:lnTo>
                  <a:lnTo>
                    <a:pt x="379" y="443"/>
                  </a:lnTo>
                  <a:lnTo>
                    <a:pt x="379" y="443"/>
                  </a:lnTo>
                  <a:lnTo>
                    <a:pt x="377" y="446"/>
                  </a:lnTo>
                  <a:lnTo>
                    <a:pt x="377" y="449"/>
                  </a:lnTo>
                  <a:lnTo>
                    <a:pt x="380" y="449"/>
                  </a:lnTo>
                  <a:lnTo>
                    <a:pt x="384" y="449"/>
                  </a:lnTo>
                  <a:lnTo>
                    <a:pt x="384" y="449"/>
                  </a:lnTo>
                  <a:lnTo>
                    <a:pt x="386" y="449"/>
                  </a:lnTo>
                  <a:lnTo>
                    <a:pt x="387" y="450"/>
                  </a:lnTo>
                  <a:lnTo>
                    <a:pt x="390" y="453"/>
                  </a:lnTo>
                  <a:lnTo>
                    <a:pt x="390" y="463"/>
                  </a:lnTo>
                  <a:lnTo>
                    <a:pt x="390" y="463"/>
                  </a:lnTo>
                  <a:lnTo>
                    <a:pt x="389" y="467"/>
                  </a:lnTo>
                  <a:lnTo>
                    <a:pt x="387" y="469"/>
                  </a:lnTo>
                  <a:lnTo>
                    <a:pt x="386" y="471"/>
                  </a:lnTo>
                  <a:lnTo>
                    <a:pt x="386" y="475"/>
                  </a:lnTo>
                  <a:lnTo>
                    <a:pt x="386" y="475"/>
                  </a:lnTo>
                  <a:lnTo>
                    <a:pt x="384" y="476"/>
                  </a:lnTo>
                  <a:lnTo>
                    <a:pt x="383" y="475"/>
                  </a:lnTo>
                  <a:lnTo>
                    <a:pt x="380" y="474"/>
                  </a:lnTo>
                  <a:lnTo>
                    <a:pt x="379" y="474"/>
                  </a:lnTo>
                  <a:lnTo>
                    <a:pt x="379" y="474"/>
                  </a:lnTo>
                  <a:lnTo>
                    <a:pt x="377" y="475"/>
                  </a:lnTo>
                  <a:lnTo>
                    <a:pt x="376" y="474"/>
                  </a:lnTo>
                  <a:lnTo>
                    <a:pt x="373" y="469"/>
                  </a:lnTo>
                  <a:lnTo>
                    <a:pt x="373" y="469"/>
                  </a:lnTo>
                  <a:lnTo>
                    <a:pt x="372" y="468"/>
                  </a:lnTo>
                  <a:lnTo>
                    <a:pt x="368" y="467"/>
                  </a:lnTo>
                  <a:lnTo>
                    <a:pt x="358" y="467"/>
                  </a:lnTo>
                  <a:lnTo>
                    <a:pt x="358" y="467"/>
                  </a:lnTo>
                  <a:lnTo>
                    <a:pt x="355" y="467"/>
                  </a:lnTo>
                  <a:lnTo>
                    <a:pt x="352" y="467"/>
                  </a:lnTo>
                  <a:lnTo>
                    <a:pt x="348" y="471"/>
                  </a:lnTo>
                  <a:lnTo>
                    <a:pt x="348" y="471"/>
                  </a:lnTo>
                  <a:lnTo>
                    <a:pt x="346" y="474"/>
                  </a:lnTo>
                  <a:lnTo>
                    <a:pt x="341" y="475"/>
                  </a:lnTo>
                  <a:lnTo>
                    <a:pt x="334" y="478"/>
                  </a:lnTo>
                  <a:lnTo>
                    <a:pt x="334" y="478"/>
                  </a:lnTo>
                  <a:lnTo>
                    <a:pt x="330" y="479"/>
                  </a:lnTo>
                  <a:lnTo>
                    <a:pt x="326" y="482"/>
                  </a:lnTo>
                  <a:lnTo>
                    <a:pt x="319" y="489"/>
                  </a:lnTo>
                  <a:lnTo>
                    <a:pt x="319" y="489"/>
                  </a:lnTo>
                  <a:lnTo>
                    <a:pt x="316" y="490"/>
                  </a:lnTo>
                  <a:lnTo>
                    <a:pt x="316" y="494"/>
                  </a:lnTo>
                  <a:lnTo>
                    <a:pt x="316" y="497"/>
                  </a:lnTo>
                  <a:lnTo>
                    <a:pt x="321" y="501"/>
                  </a:lnTo>
                  <a:lnTo>
                    <a:pt x="321" y="501"/>
                  </a:lnTo>
                  <a:lnTo>
                    <a:pt x="323" y="506"/>
                  </a:lnTo>
                  <a:lnTo>
                    <a:pt x="326" y="508"/>
                  </a:lnTo>
                  <a:lnTo>
                    <a:pt x="326" y="511"/>
                  </a:lnTo>
                  <a:lnTo>
                    <a:pt x="326" y="514"/>
                  </a:lnTo>
                  <a:lnTo>
                    <a:pt x="326" y="514"/>
                  </a:lnTo>
                  <a:lnTo>
                    <a:pt x="326" y="515"/>
                  </a:lnTo>
                  <a:lnTo>
                    <a:pt x="323" y="515"/>
                  </a:lnTo>
                  <a:lnTo>
                    <a:pt x="318" y="515"/>
                  </a:lnTo>
                  <a:lnTo>
                    <a:pt x="312" y="515"/>
                  </a:lnTo>
                  <a:lnTo>
                    <a:pt x="308" y="513"/>
                  </a:lnTo>
                  <a:lnTo>
                    <a:pt x="308" y="513"/>
                  </a:lnTo>
                  <a:lnTo>
                    <a:pt x="305" y="511"/>
                  </a:lnTo>
                  <a:lnTo>
                    <a:pt x="300" y="510"/>
                  </a:lnTo>
                  <a:lnTo>
                    <a:pt x="291" y="510"/>
                  </a:lnTo>
                  <a:lnTo>
                    <a:pt x="291" y="510"/>
                  </a:lnTo>
                  <a:lnTo>
                    <a:pt x="289" y="508"/>
                  </a:lnTo>
                  <a:lnTo>
                    <a:pt x="283" y="504"/>
                  </a:lnTo>
                  <a:lnTo>
                    <a:pt x="279" y="500"/>
                  </a:lnTo>
                  <a:lnTo>
                    <a:pt x="273" y="499"/>
                  </a:lnTo>
                  <a:lnTo>
                    <a:pt x="273" y="499"/>
                  </a:lnTo>
                  <a:lnTo>
                    <a:pt x="271" y="500"/>
                  </a:lnTo>
                  <a:lnTo>
                    <a:pt x="268" y="501"/>
                  </a:lnTo>
                  <a:lnTo>
                    <a:pt x="265" y="507"/>
                  </a:lnTo>
                  <a:lnTo>
                    <a:pt x="265" y="507"/>
                  </a:lnTo>
                  <a:lnTo>
                    <a:pt x="264" y="510"/>
                  </a:lnTo>
                  <a:lnTo>
                    <a:pt x="265" y="511"/>
                  </a:lnTo>
                  <a:lnTo>
                    <a:pt x="269" y="517"/>
                  </a:lnTo>
                  <a:lnTo>
                    <a:pt x="269" y="517"/>
                  </a:lnTo>
                  <a:lnTo>
                    <a:pt x="272" y="519"/>
                  </a:lnTo>
                  <a:lnTo>
                    <a:pt x="276" y="521"/>
                  </a:lnTo>
                  <a:lnTo>
                    <a:pt x="284" y="522"/>
                  </a:lnTo>
                  <a:lnTo>
                    <a:pt x="284" y="522"/>
                  </a:lnTo>
                  <a:lnTo>
                    <a:pt x="287" y="524"/>
                  </a:lnTo>
                  <a:lnTo>
                    <a:pt x="287" y="525"/>
                  </a:lnTo>
                  <a:lnTo>
                    <a:pt x="286" y="532"/>
                  </a:lnTo>
                  <a:lnTo>
                    <a:pt x="286" y="532"/>
                  </a:lnTo>
                  <a:lnTo>
                    <a:pt x="283" y="533"/>
                  </a:lnTo>
                  <a:lnTo>
                    <a:pt x="280" y="535"/>
                  </a:lnTo>
                  <a:lnTo>
                    <a:pt x="276" y="535"/>
                  </a:lnTo>
                  <a:lnTo>
                    <a:pt x="273" y="533"/>
                  </a:lnTo>
                  <a:lnTo>
                    <a:pt x="273" y="533"/>
                  </a:lnTo>
                  <a:lnTo>
                    <a:pt x="271" y="532"/>
                  </a:lnTo>
                  <a:lnTo>
                    <a:pt x="266" y="532"/>
                  </a:lnTo>
                  <a:lnTo>
                    <a:pt x="264" y="531"/>
                  </a:lnTo>
                  <a:lnTo>
                    <a:pt x="262" y="531"/>
                  </a:lnTo>
                  <a:lnTo>
                    <a:pt x="262" y="529"/>
                  </a:lnTo>
                  <a:lnTo>
                    <a:pt x="262" y="529"/>
                  </a:lnTo>
                  <a:lnTo>
                    <a:pt x="261" y="526"/>
                  </a:lnTo>
                  <a:lnTo>
                    <a:pt x="257" y="524"/>
                  </a:lnTo>
                  <a:lnTo>
                    <a:pt x="252" y="522"/>
                  </a:lnTo>
                  <a:lnTo>
                    <a:pt x="247" y="521"/>
                  </a:lnTo>
                  <a:lnTo>
                    <a:pt x="247" y="521"/>
                  </a:lnTo>
                  <a:lnTo>
                    <a:pt x="243" y="521"/>
                  </a:lnTo>
                  <a:lnTo>
                    <a:pt x="240" y="519"/>
                  </a:lnTo>
                  <a:lnTo>
                    <a:pt x="239" y="517"/>
                  </a:lnTo>
                  <a:lnTo>
                    <a:pt x="239" y="513"/>
                  </a:lnTo>
                  <a:lnTo>
                    <a:pt x="239" y="513"/>
                  </a:lnTo>
                  <a:lnTo>
                    <a:pt x="239" y="508"/>
                  </a:lnTo>
                  <a:lnTo>
                    <a:pt x="237" y="506"/>
                  </a:lnTo>
                  <a:lnTo>
                    <a:pt x="236" y="503"/>
                  </a:lnTo>
                  <a:lnTo>
                    <a:pt x="236" y="501"/>
                  </a:lnTo>
                  <a:lnTo>
                    <a:pt x="236" y="501"/>
                  </a:lnTo>
                  <a:lnTo>
                    <a:pt x="234" y="496"/>
                  </a:lnTo>
                  <a:lnTo>
                    <a:pt x="234" y="493"/>
                  </a:lnTo>
                  <a:lnTo>
                    <a:pt x="236" y="490"/>
                  </a:lnTo>
                  <a:lnTo>
                    <a:pt x="236" y="490"/>
                  </a:lnTo>
                  <a:lnTo>
                    <a:pt x="237" y="489"/>
                  </a:lnTo>
                  <a:lnTo>
                    <a:pt x="237" y="486"/>
                  </a:lnTo>
                  <a:lnTo>
                    <a:pt x="237" y="481"/>
                  </a:lnTo>
                  <a:lnTo>
                    <a:pt x="237" y="481"/>
                  </a:lnTo>
                  <a:lnTo>
                    <a:pt x="236" y="478"/>
                  </a:lnTo>
                  <a:lnTo>
                    <a:pt x="233" y="475"/>
                  </a:lnTo>
                  <a:lnTo>
                    <a:pt x="229" y="474"/>
                  </a:lnTo>
                  <a:lnTo>
                    <a:pt x="225" y="472"/>
                  </a:lnTo>
                  <a:lnTo>
                    <a:pt x="225" y="472"/>
                  </a:lnTo>
                  <a:lnTo>
                    <a:pt x="222" y="471"/>
                  </a:lnTo>
                  <a:lnTo>
                    <a:pt x="221" y="469"/>
                  </a:lnTo>
                  <a:lnTo>
                    <a:pt x="218" y="467"/>
                  </a:lnTo>
                  <a:lnTo>
                    <a:pt x="215" y="465"/>
                  </a:lnTo>
                  <a:lnTo>
                    <a:pt x="215" y="465"/>
                  </a:lnTo>
                  <a:lnTo>
                    <a:pt x="211" y="463"/>
                  </a:lnTo>
                  <a:lnTo>
                    <a:pt x="207" y="460"/>
                  </a:lnTo>
                  <a:lnTo>
                    <a:pt x="203" y="456"/>
                  </a:lnTo>
                  <a:lnTo>
                    <a:pt x="200" y="453"/>
                  </a:lnTo>
                  <a:lnTo>
                    <a:pt x="200" y="453"/>
                  </a:lnTo>
                  <a:lnTo>
                    <a:pt x="198" y="450"/>
                  </a:lnTo>
                  <a:lnTo>
                    <a:pt x="197" y="449"/>
                  </a:lnTo>
                  <a:lnTo>
                    <a:pt x="194" y="449"/>
                  </a:lnTo>
                  <a:lnTo>
                    <a:pt x="194" y="447"/>
                  </a:lnTo>
                  <a:lnTo>
                    <a:pt x="194" y="447"/>
                  </a:lnTo>
                  <a:lnTo>
                    <a:pt x="197" y="447"/>
                  </a:lnTo>
                  <a:lnTo>
                    <a:pt x="200" y="447"/>
                  </a:lnTo>
                  <a:lnTo>
                    <a:pt x="204" y="449"/>
                  </a:lnTo>
                  <a:lnTo>
                    <a:pt x="207" y="451"/>
                  </a:lnTo>
                  <a:lnTo>
                    <a:pt x="207" y="451"/>
                  </a:lnTo>
                  <a:lnTo>
                    <a:pt x="211" y="456"/>
                  </a:lnTo>
                  <a:lnTo>
                    <a:pt x="215" y="457"/>
                  </a:lnTo>
                  <a:lnTo>
                    <a:pt x="222" y="460"/>
                  </a:lnTo>
                  <a:lnTo>
                    <a:pt x="229" y="461"/>
                  </a:lnTo>
                  <a:lnTo>
                    <a:pt x="229" y="461"/>
                  </a:lnTo>
                  <a:lnTo>
                    <a:pt x="236" y="463"/>
                  </a:lnTo>
                  <a:lnTo>
                    <a:pt x="243" y="465"/>
                  </a:lnTo>
                  <a:lnTo>
                    <a:pt x="248" y="468"/>
                  </a:lnTo>
                  <a:lnTo>
                    <a:pt x="257" y="469"/>
                  </a:lnTo>
                  <a:lnTo>
                    <a:pt x="257" y="469"/>
                  </a:lnTo>
                  <a:lnTo>
                    <a:pt x="293" y="476"/>
                  </a:lnTo>
                  <a:lnTo>
                    <a:pt x="293" y="476"/>
                  </a:lnTo>
                  <a:lnTo>
                    <a:pt x="300" y="476"/>
                  </a:lnTo>
                  <a:lnTo>
                    <a:pt x="307" y="475"/>
                  </a:lnTo>
                  <a:lnTo>
                    <a:pt x="314" y="472"/>
                  </a:lnTo>
                  <a:lnTo>
                    <a:pt x="321" y="468"/>
                  </a:lnTo>
                  <a:lnTo>
                    <a:pt x="332" y="461"/>
                  </a:lnTo>
                  <a:lnTo>
                    <a:pt x="339" y="456"/>
                  </a:lnTo>
                  <a:lnTo>
                    <a:pt x="339" y="456"/>
                  </a:lnTo>
                  <a:lnTo>
                    <a:pt x="340" y="454"/>
                  </a:lnTo>
                  <a:lnTo>
                    <a:pt x="340" y="451"/>
                  </a:lnTo>
                  <a:lnTo>
                    <a:pt x="340" y="446"/>
                  </a:lnTo>
                  <a:lnTo>
                    <a:pt x="337" y="438"/>
                  </a:lnTo>
                  <a:lnTo>
                    <a:pt x="337" y="438"/>
                  </a:lnTo>
                  <a:lnTo>
                    <a:pt x="336" y="435"/>
                  </a:lnTo>
                  <a:lnTo>
                    <a:pt x="333" y="433"/>
                  </a:lnTo>
                  <a:lnTo>
                    <a:pt x="330" y="432"/>
                  </a:lnTo>
                  <a:lnTo>
                    <a:pt x="327" y="431"/>
                  </a:lnTo>
                  <a:lnTo>
                    <a:pt x="327" y="431"/>
                  </a:lnTo>
                  <a:lnTo>
                    <a:pt x="326" y="428"/>
                  </a:lnTo>
                  <a:lnTo>
                    <a:pt x="323" y="425"/>
                  </a:lnTo>
                  <a:lnTo>
                    <a:pt x="319" y="424"/>
                  </a:lnTo>
                  <a:lnTo>
                    <a:pt x="315" y="422"/>
                  </a:lnTo>
                  <a:lnTo>
                    <a:pt x="315" y="422"/>
                  </a:lnTo>
                  <a:lnTo>
                    <a:pt x="311" y="421"/>
                  </a:lnTo>
                  <a:lnTo>
                    <a:pt x="308" y="419"/>
                  </a:lnTo>
                  <a:lnTo>
                    <a:pt x="305" y="417"/>
                  </a:lnTo>
                  <a:lnTo>
                    <a:pt x="302" y="415"/>
                  </a:lnTo>
                  <a:lnTo>
                    <a:pt x="302" y="415"/>
                  </a:lnTo>
                  <a:lnTo>
                    <a:pt x="298" y="415"/>
                  </a:lnTo>
                  <a:lnTo>
                    <a:pt x="294" y="414"/>
                  </a:lnTo>
                  <a:lnTo>
                    <a:pt x="279" y="404"/>
                  </a:lnTo>
                  <a:lnTo>
                    <a:pt x="279" y="404"/>
                  </a:lnTo>
                  <a:lnTo>
                    <a:pt x="268" y="397"/>
                  </a:lnTo>
                  <a:lnTo>
                    <a:pt x="257" y="393"/>
                  </a:lnTo>
                  <a:lnTo>
                    <a:pt x="247" y="390"/>
                  </a:lnTo>
                  <a:lnTo>
                    <a:pt x="243" y="389"/>
                  </a:lnTo>
                  <a:lnTo>
                    <a:pt x="243" y="389"/>
                  </a:lnTo>
                  <a:lnTo>
                    <a:pt x="237" y="390"/>
                  </a:lnTo>
                  <a:lnTo>
                    <a:pt x="236" y="390"/>
                  </a:lnTo>
                  <a:lnTo>
                    <a:pt x="234" y="389"/>
                  </a:lnTo>
                  <a:lnTo>
                    <a:pt x="234" y="389"/>
                  </a:lnTo>
                  <a:lnTo>
                    <a:pt x="232" y="386"/>
                  </a:lnTo>
                  <a:lnTo>
                    <a:pt x="229" y="386"/>
                  </a:lnTo>
                  <a:lnTo>
                    <a:pt x="226" y="386"/>
                  </a:lnTo>
                  <a:lnTo>
                    <a:pt x="223" y="389"/>
                  </a:lnTo>
                  <a:lnTo>
                    <a:pt x="223" y="389"/>
                  </a:lnTo>
                  <a:lnTo>
                    <a:pt x="221" y="389"/>
                  </a:lnTo>
                  <a:lnTo>
                    <a:pt x="216" y="389"/>
                  </a:lnTo>
                  <a:lnTo>
                    <a:pt x="214" y="388"/>
                  </a:lnTo>
                  <a:lnTo>
                    <a:pt x="208" y="388"/>
                  </a:lnTo>
                  <a:lnTo>
                    <a:pt x="208" y="388"/>
                  </a:lnTo>
                  <a:lnTo>
                    <a:pt x="204" y="388"/>
                  </a:lnTo>
                  <a:lnTo>
                    <a:pt x="201" y="386"/>
                  </a:lnTo>
                  <a:lnTo>
                    <a:pt x="200" y="385"/>
                  </a:lnTo>
                  <a:lnTo>
                    <a:pt x="200" y="382"/>
                  </a:lnTo>
                  <a:lnTo>
                    <a:pt x="200" y="382"/>
                  </a:lnTo>
                  <a:lnTo>
                    <a:pt x="203" y="382"/>
                  </a:lnTo>
                  <a:lnTo>
                    <a:pt x="207" y="381"/>
                  </a:lnTo>
                  <a:lnTo>
                    <a:pt x="209" y="381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9"/>
                  </a:lnTo>
                  <a:lnTo>
                    <a:pt x="211" y="376"/>
                  </a:lnTo>
                  <a:lnTo>
                    <a:pt x="208" y="376"/>
                  </a:lnTo>
                  <a:lnTo>
                    <a:pt x="205" y="376"/>
                  </a:lnTo>
                  <a:lnTo>
                    <a:pt x="201" y="375"/>
                  </a:lnTo>
                  <a:lnTo>
                    <a:pt x="201" y="375"/>
                  </a:lnTo>
                  <a:lnTo>
                    <a:pt x="197" y="372"/>
                  </a:lnTo>
                  <a:lnTo>
                    <a:pt x="194" y="372"/>
                  </a:lnTo>
                  <a:lnTo>
                    <a:pt x="191" y="374"/>
                  </a:lnTo>
                  <a:lnTo>
                    <a:pt x="190" y="376"/>
                  </a:lnTo>
                  <a:lnTo>
                    <a:pt x="190" y="376"/>
                  </a:lnTo>
                  <a:lnTo>
                    <a:pt x="189" y="378"/>
                  </a:lnTo>
                  <a:lnTo>
                    <a:pt x="186" y="379"/>
                  </a:lnTo>
                  <a:lnTo>
                    <a:pt x="183" y="378"/>
                  </a:lnTo>
                  <a:lnTo>
                    <a:pt x="180" y="376"/>
                  </a:lnTo>
                  <a:lnTo>
                    <a:pt x="180" y="376"/>
                  </a:lnTo>
                  <a:lnTo>
                    <a:pt x="179" y="375"/>
                  </a:lnTo>
                  <a:lnTo>
                    <a:pt x="179" y="375"/>
                  </a:lnTo>
                  <a:lnTo>
                    <a:pt x="178" y="379"/>
                  </a:lnTo>
                  <a:lnTo>
                    <a:pt x="176" y="381"/>
                  </a:lnTo>
                  <a:lnTo>
                    <a:pt x="173" y="381"/>
                  </a:lnTo>
                  <a:lnTo>
                    <a:pt x="172" y="381"/>
                  </a:lnTo>
                  <a:lnTo>
                    <a:pt x="172" y="381"/>
                  </a:lnTo>
                  <a:lnTo>
                    <a:pt x="168" y="382"/>
                  </a:lnTo>
                  <a:lnTo>
                    <a:pt x="165" y="383"/>
                  </a:lnTo>
                  <a:lnTo>
                    <a:pt x="162" y="386"/>
                  </a:lnTo>
                  <a:lnTo>
                    <a:pt x="158" y="388"/>
                  </a:lnTo>
                  <a:lnTo>
                    <a:pt x="158" y="388"/>
                  </a:lnTo>
                  <a:lnTo>
                    <a:pt x="155" y="388"/>
                  </a:lnTo>
                  <a:lnTo>
                    <a:pt x="151" y="390"/>
                  </a:lnTo>
                  <a:lnTo>
                    <a:pt x="150" y="393"/>
                  </a:lnTo>
                  <a:lnTo>
                    <a:pt x="148" y="396"/>
                  </a:lnTo>
                  <a:lnTo>
                    <a:pt x="148" y="396"/>
                  </a:lnTo>
                  <a:lnTo>
                    <a:pt x="147" y="399"/>
                  </a:lnTo>
                  <a:lnTo>
                    <a:pt x="144" y="399"/>
                  </a:lnTo>
                  <a:lnTo>
                    <a:pt x="143" y="400"/>
                  </a:lnTo>
                  <a:lnTo>
                    <a:pt x="141" y="401"/>
                  </a:lnTo>
                  <a:lnTo>
                    <a:pt x="141" y="401"/>
                  </a:lnTo>
                  <a:lnTo>
                    <a:pt x="141" y="406"/>
                  </a:lnTo>
                  <a:lnTo>
                    <a:pt x="140" y="410"/>
                  </a:lnTo>
                  <a:lnTo>
                    <a:pt x="140" y="410"/>
                  </a:lnTo>
                  <a:lnTo>
                    <a:pt x="139" y="411"/>
                  </a:lnTo>
                  <a:lnTo>
                    <a:pt x="139" y="413"/>
                  </a:lnTo>
                  <a:lnTo>
                    <a:pt x="141" y="418"/>
                  </a:lnTo>
                  <a:lnTo>
                    <a:pt x="141" y="418"/>
                  </a:lnTo>
                  <a:lnTo>
                    <a:pt x="144" y="421"/>
                  </a:lnTo>
                  <a:lnTo>
                    <a:pt x="147" y="422"/>
                  </a:lnTo>
                  <a:lnTo>
                    <a:pt x="151" y="424"/>
                  </a:lnTo>
                  <a:lnTo>
                    <a:pt x="151" y="424"/>
                  </a:lnTo>
                  <a:lnTo>
                    <a:pt x="158" y="429"/>
                  </a:lnTo>
                  <a:lnTo>
                    <a:pt x="161" y="432"/>
                  </a:lnTo>
                  <a:lnTo>
                    <a:pt x="162" y="435"/>
                  </a:lnTo>
                  <a:lnTo>
                    <a:pt x="162" y="435"/>
                  </a:lnTo>
                  <a:lnTo>
                    <a:pt x="161" y="438"/>
                  </a:lnTo>
                  <a:lnTo>
                    <a:pt x="158" y="442"/>
                  </a:lnTo>
                  <a:lnTo>
                    <a:pt x="153" y="447"/>
                  </a:lnTo>
                  <a:lnTo>
                    <a:pt x="153" y="447"/>
                  </a:lnTo>
                  <a:lnTo>
                    <a:pt x="148" y="451"/>
                  </a:lnTo>
                  <a:lnTo>
                    <a:pt x="148" y="454"/>
                  </a:lnTo>
                  <a:lnTo>
                    <a:pt x="148" y="456"/>
                  </a:lnTo>
                  <a:lnTo>
                    <a:pt x="148" y="456"/>
                  </a:lnTo>
                  <a:lnTo>
                    <a:pt x="154" y="465"/>
                  </a:lnTo>
                  <a:lnTo>
                    <a:pt x="164" y="479"/>
                  </a:lnTo>
                  <a:lnTo>
                    <a:pt x="164" y="479"/>
                  </a:lnTo>
                  <a:lnTo>
                    <a:pt x="165" y="485"/>
                  </a:lnTo>
                  <a:lnTo>
                    <a:pt x="165" y="485"/>
                  </a:lnTo>
                  <a:lnTo>
                    <a:pt x="164" y="486"/>
                  </a:lnTo>
                  <a:lnTo>
                    <a:pt x="161" y="488"/>
                  </a:lnTo>
                  <a:lnTo>
                    <a:pt x="158" y="489"/>
                  </a:lnTo>
                  <a:lnTo>
                    <a:pt x="158" y="489"/>
                  </a:lnTo>
                  <a:lnTo>
                    <a:pt x="157" y="492"/>
                  </a:lnTo>
                  <a:lnTo>
                    <a:pt x="158" y="496"/>
                  </a:lnTo>
                  <a:lnTo>
                    <a:pt x="161" y="501"/>
                  </a:lnTo>
                  <a:lnTo>
                    <a:pt x="161" y="501"/>
                  </a:lnTo>
                  <a:lnTo>
                    <a:pt x="159" y="503"/>
                  </a:lnTo>
                  <a:lnTo>
                    <a:pt x="158" y="503"/>
                  </a:lnTo>
                  <a:lnTo>
                    <a:pt x="157" y="504"/>
                  </a:lnTo>
                  <a:lnTo>
                    <a:pt x="157" y="506"/>
                  </a:lnTo>
                  <a:lnTo>
                    <a:pt x="157" y="506"/>
                  </a:lnTo>
                  <a:lnTo>
                    <a:pt x="158" y="507"/>
                  </a:lnTo>
                  <a:lnTo>
                    <a:pt x="161" y="508"/>
                  </a:lnTo>
                  <a:lnTo>
                    <a:pt x="164" y="510"/>
                  </a:lnTo>
                  <a:lnTo>
                    <a:pt x="165" y="511"/>
                  </a:lnTo>
                  <a:lnTo>
                    <a:pt x="165" y="511"/>
                  </a:lnTo>
                  <a:lnTo>
                    <a:pt x="164" y="513"/>
                  </a:lnTo>
                  <a:lnTo>
                    <a:pt x="162" y="514"/>
                  </a:lnTo>
                  <a:lnTo>
                    <a:pt x="161" y="515"/>
                  </a:lnTo>
                  <a:lnTo>
                    <a:pt x="162" y="518"/>
                  </a:lnTo>
                  <a:lnTo>
                    <a:pt x="162" y="518"/>
                  </a:lnTo>
                  <a:lnTo>
                    <a:pt x="164" y="521"/>
                  </a:lnTo>
                  <a:lnTo>
                    <a:pt x="166" y="522"/>
                  </a:lnTo>
                  <a:lnTo>
                    <a:pt x="169" y="524"/>
                  </a:lnTo>
                  <a:lnTo>
                    <a:pt x="171" y="526"/>
                  </a:lnTo>
                  <a:lnTo>
                    <a:pt x="171" y="526"/>
                  </a:lnTo>
                  <a:lnTo>
                    <a:pt x="171" y="528"/>
                  </a:lnTo>
                  <a:lnTo>
                    <a:pt x="169" y="529"/>
                  </a:lnTo>
                  <a:lnTo>
                    <a:pt x="165" y="532"/>
                  </a:lnTo>
                  <a:lnTo>
                    <a:pt x="162" y="533"/>
                  </a:lnTo>
                  <a:lnTo>
                    <a:pt x="161" y="535"/>
                  </a:lnTo>
                  <a:lnTo>
                    <a:pt x="161" y="536"/>
                  </a:lnTo>
                  <a:lnTo>
                    <a:pt x="161" y="536"/>
                  </a:lnTo>
                  <a:lnTo>
                    <a:pt x="164" y="539"/>
                  </a:lnTo>
                  <a:lnTo>
                    <a:pt x="169" y="542"/>
                  </a:lnTo>
                  <a:lnTo>
                    <a:pt x="175" y="546"/>
                  </a:lnTo>
                  <a:lnTo>
                    <a:pt x="180" y="551"/>
                  </a:lnTo>
                  <a:lnTo>
                    <a:pt x="180" y="551"/>
                  </a:lnTo>
                  <a:lnTo>
                    <a:pt x="184" y="556"/>
                  </a:lnTo>
                  <a:lnTo>
                    <a:pt x="186" y="558"/>
                  </a:lnTo>
                  <a:lnTo>
                    <a:pt x="186" y="561"/>
                  </a:lnTo>
                  <a:lnTo>
                    <a:pt x="184" y="564"/>
                  </a:lnTo>
                  <a:lnTo>
                    <a:pt x="184" y="564"/>
                  </a:lnTo>
                  <a:lnTo>
                    <a:pt x="183" y="567"/>
                  </a:lnTo>
                  <a:lnTo>
                    <a:pt x="180" y="568"/>
                  </a:lnTo>
                  <a:lnTo>
                    <a:pt x="173" y="574"/>
                  </a:lnTo>
                  <a:lnTo>
                    <a:pt x="166" y="579"/>
                  </a:lnTo>
                  <a:lnTo>
                    <a:pt x="164" y="582"/>
                  </a:lnTo>
                  <a:lnTo>
                    <a:pt x="162" y="586"/>
                  </a:lnTo>
                  <a:lnTo>
                    <a:pt x="162" y="586"/>
                  </a:lnTo>
                  <a:lnTo>
                    <a:pt x="157" y="592"/>
                  </a:lnTo>
                  <a:lnTo>
                    <a:pt x="151" y="596"/>
                  </a:lnTo>
                  <a:lnTo>
                    <a:pt x="144" y="600"/>
                  </a:lnTo>
                  <a:lnTo>
                    <a:pt x="137" y="606"/>
                  </a:lnTo>
                  <a:lnTo>
                    <a:pt x="137" y="606"/>
                  </a:lnTo>
                  <a:lnTo>
                    <a:pt x="130" y="614"/>
                  </a:lnTo>
                  <a:lnTo>
                    <a:pt x="130" y="614"/>
                  </a:lnTo>
                  <a:lnTo>
                    <a:pt x="137" y="612"/>
                  </a:lnTo>
                  <a:lnTo>
                    <a:pt x="137" y="612"/>
                  </a:lnTo>
                  <a:lnTo>
                    <a:pt x="139" y="612"/>
                  </a:lnTo>
                  <a:lnTo>
                    <a:pt x="139" y="612"/>
                  </a:lnTo>
                  <a:lnTo>
                    <a:pt x="141" y="615"/>
                  </a:lnTo>
                  <a:lnTo>
                    <a:pt x="144" y="619"/>
                  </a:lnTo>
                  <a:lnTo>
                    <a:pt x="147" y="622"/>
                  </a:lnTo>
                  <a:lnTo>
                    <a:pt x="147" y="622"/>
                  </a:lnTo>
                  <a:lnTo>
                    <a:pt x="150" y="624"/>
                  </a:lnTo>
                  <a:lnTo>
                    <a:pt x="154" y="624"/>
                  </a:lnTo>
                  <a:lnTo>
                    <a:pt x="158" y="624"/>
                  </a:lnTo>
                  <a:lnTo>
                    <a:pt x="161" y="625"/>
                  </a:lnTo>
                  <a:lnTo>
                    <a:pt x="161" y="625"/>
                  </a:lnTo>
                  <a:lnTo>
                    <a:pt x="161" y="626"/>
                  </a:lnTo>
                  <a:lnTo>
                    <a:pt x="159" y="628"/>
                  </a:lnTo>
                  <a:lnTo>
                    <a:pt x="153" y="628"/>
                  </a:lnTo>
                  <a:lnTo>
                    <a:pt x="153" y="628"/>
                  </a:lnTo>
                  <a:lnTo>
                    <a:pt x="150" y="628"/>
                  </a:lnTo>
                  <a:lnTo>
                    <a:pt x="147" y="629"/>
                  </a:lnTo>
                  <a:lnTo>
                    <a:pt x="137" y="632"/>
                  </a:lnTo>
                  <a:lnTo>
                    <a:pt x="137" y="632"/>
                  </a:lnTo>
                  <a:lnTo>
                    <a:pt x="134" y="635"/>
                  </a:lnTo>
                  <a:lnTo>
                    <a:pt x="132" y="636"/>
                  </a:lnTo>
                  <a:lnTo>
                    <a:pt x="130" y="639"/>
                  </a:lnTo>
                  <a:lnTo>
                    <a:pt x="130" y="639"/>
                  </a:lnTo>
                  <a:lnTo>
                    <a:pt x="132" y="642"/>
                  </a:lnTo>
                  <a:lnTo>
                    <a:pt x="130" y="644"/>
                  </a:lnTo>
                  <a:lnTo>
                    <a:pt x="128" y="649"/>
                  </a:lnTo>
                  <a:lnTo>
                    <a:pt x="128" y="649"/>
                  </a:lnTo>
                  <a:lnTo>
                    <a:pt x="123" y="653"/>
                  </a:lnTo>
                  <a:lnTo>
                    <a:pt x="122" y="657"/>
                  </a:lnTo>
                  <a:lnTo>
                    <a:pt x="122" y="657"/>
                  </a:lnTo>
                  <a:lnTo>
                    <a:pt x="122" y="661"/>
                  </a:lnTo>
                  <a:lnTo>
                    <a:pt x="123" y="665"/>
                  </a:lnTo>
                  <a:lnTo>
                    <a:pt x="123" y="665"/>
                  </a:lnTo>
                  <a:lnTo>
                    <a:pt x="123" y="671"/>
                  </a:lnTo>
                  <a:lnTo>
                    <a:pt x="126" y="674"/>
                  </a:lnTo>
                  <a:lnTo>
                    <a:pt x="126" y="674"/>
                  </a:lnTo>
                  <a:lnTo>
                    <a:pt x="128" y="676"/>
                  </a:lnTo>
                  <a:lnTo>
                    <a:pt x="126" y="678"/>
                  </a:lnTo>
                  <a:lnTo>
                    <a:pt x="122" y="679"/>
                  </a:lnTo>
                  <a:lnTo>
                    <a:pt x="122" y="679"/>
                  </a:lnTo>
                  <a:lnTo>
                    <a:pt x="121" y="680"/>
                  </a:lnTo>
                  <a:lnTo>
                    <a:pt x="121" y="683"/>
                  </a:lnTo>
                  <a:lnTo>
                    <a:pt x="125" y="687"/>
                  </a:lnTo>
                  <a:lnTo>
                    <a:pt x="125" y="687"/>
                  </a:lnTo>
                  <a:lnTo>
                    <a:pt x="126" y="690"/>
                  </a:lnTo>
                  <a:lnTo>
                    <a:pt x="126" y="692"/>
                  </a:lnTo>
                  <a:lnTo>
                    <a:pt x="126" y="696"/>
                  </a:lnTo>
                  <a:lnTo>
                    <a:pt x="126" y="696"/>
                  </a:lnTo>
                  <a:lnTo>
                    <a:pt x="126" y="699"/>
                  </a:lnTo>
                  <a:lnTo>
                    <a:pt x="128" y="701"/>
                  </a:lnTo>
                  <a:lnTo>
                    <a:pt x="130" y="705"/>
                  </a:lnTo>
                  <a:lnTo>
                    <a:pt x="130" y="705"/>
                  </a:lnTo>
                  <a:lnTo>
                    <a:pt x="132" y="708"/>
                  </a:lnTo>
                  <a:lnTo>
                    <a:pt x="133" y="711"/>
                  </a:lnTo>
                  <a:lnTo>
                    <a:pt x="133" y="714"/>
                  </a:lnTo>
                  <a:lnTo>
                    <a:pt x="134" y="717"/>
                  </a:lnTo>
                  <a:lnTo>
                    <a:pt x="134" y="717"/>
                  </a:lnTo>
                  <a:lnTo>
                    <a:pt x="139" y="718"/>
                  </a:lnTo>
                  <a:lnTo>
                    <a:pt x="140" y="719"/>
                  </a:lnTo>
                  <a:lnTo>
                    <a:pt x="143" y="718"/>
                  </a:lnTo>
                  <a:lnTo>
                    <a:pt x="143" y="718"/>
                  </a:lnTo>
                  <a:lnTo>
                    <a:pt x="146" y="718"/>
                  </a:lnTo>
                  <a:lnTo>
                    <a:pt x="148" y="719"/>
                  </a:lnTo>
                  <a:lnTo>
                    <a:pt x="151" y="722"/>
                  </a:lnTo>
                  <a:lnTo>
                    <a:pt x="151" y="722"/>
                  </a:lnTo>
                  <a:lnTo>
                    <a:pt x="153" y="723"/>
                  </a:lnTo>
                  <a:lnTo>
                    <a:pt x="154" y="723"/>
                  </a:lnTo>
                  <a:lnTo>
                    <a:pt x="159" y="722"/>
                  </a:lnTo>
                  <a:lnTo>
                    <a:pt x="159" y="722"/>
                  </a:lnTo>
                  <a:lnTo>
                    <a:pt x="164" y="722"/>
                  </a:lnTo>
                  <a:lnTo>
                    <a:pt x="168" y="723"/>
                  </a:lnTo>
                  <a:lnTo>
                    <a:pt x="175" y="726"/>
                  </a:lnTo>
                  <a:lnTo>
                    <a:pt x="175" y="726"/>
                  </a:lnTo>
                  <a:lnTo>
                    <a:pt x="175" y="728"/>
                  </a:lnTo>
                  <a:lnTo>
                    <a:pt x="176" y="730"/>
                  </a:lnTo>
                  <a:lnTo>
                    <a:pt x="176" y="737"/>
                  </a:lnTo>
                  <a:lnTo>
                    <a:pt x="176" y="737"/>
                  </a:lnTo>
                  <a:lnTo>
                    <a:pt x="175" y="743"/>
                  </a:lnTo>
                  <a:lnTo>
                    <a:pt x="175" y="746"/>
                  </a:lnTo>
                  <a:lnTo>
                    <a:pt x="178" y="748"/>
                  </a:lnTo>
                  <a:lnTo>
                    <a:pt x="178" y="748"/>
                  </a:lnTo>
                  <a:lnTo>
                    <a:pt x="179" y="751"/>
                  </a:lnTo>
                  <a:lnTo>
                    <a:pt x="180" y="754"/>
                  </a:lnTo>
                  <a:lnTo>
                    <a:pt x="182" y="757"/>
                  </a:lnTo>
                  <a:lnTo>
                    <a:pt x="184" y="758"/>
                  </a:lnTo>
                  <a:lnTo>
                    <a:pt x="184" y="758"/>
                  </a:lnTo>
                  <a:lnTo>
                    <a:pt x="187" y="760"/>
                  </a:lnTo>
                  <a:lnTo>
                    <a:pt x="190" y="762"/>
                  </a:lnTo>
                  <a:lnTo>
                    <a:pt x="191" y="765"/>
                  </a:lnTo>
                  <a:lnTo>
                    <a:pt x="194" y="767"/>
                  </a:lnTo>
                  <a:lnTo>
                    <a:pt x="194" y="767"/>
                  </a:lnTo>
                  <a:lnTo>
                    <a:pt x="198" y="769"/>
                  </a:lnTo>
                  <a:lnTo>
                    <a:pt x="201" y="772"/>
                  </a:lnTo>
                  <a:lnTo>
                    <a:pt x="203" y="775"/>
                  </a:lnTo>
                  <a:lnTo>
                    <a:pt x="203" y="775"/>
                  </a:lnTo>
                  <a:lnTo>
                    <a:pt x="201" y="778"/>
                  </a:lnTo>
                  <a:lnTo>
                    <a:pt x="200" y="779"/>
                  </a:lnTo>
                  <a:lnTo>
                    <a:pt x="194" y="782"/>
                  </a:lnTo>
                  <a:lnTo>
                    <a:pt x="194" y="782"/>
                  </a:lnTo>
                  <a:lnTo>
                    <a:pt x="191" y="782"/>
                  </a:lnTo>
                  <a:lnTo>
                    <a:pt x="189" y="780"/>
                  </a:lnTo>
                  <a:lnTo>
                    <a:pt x="186" y="779"/>
                  </a:lnTo>
                  <a:lnTo>
                    <a:pt x="183" y="780"/>
                  </a:lnTo>
                  <a:lnTo>
                    <a:pt x="183" y="780"/>
                  </a:lnTo>
                  <a:lnTo>
                    <a:pt x="183" y="782"/>
                  </a:lnTo>
                  <a:lnTo>
                    <a:pt x="183" y="786"/>
                  </a:lnTo>
                  <a:lnTo>
                    <a:pt x="186" y="794"/>
                  </a:lnTo>
                  <a:lnTo>
                    <a:pt x="186" y="794"/>
                  </a:lnTo>
                  <a:lnTo>
                    <a:pt x="189" y="801"/>
                  </a:lnTo>
                  <a:lnTo>
                    <a:pt x="190" y="803"/>
                  </a:lnTo>
                  <a:lnTo>
                    <a:pt x="193" y="803"/>
                  </a:lnTo>
                  <a:lnTo>
                    <a:pt x="193" y="803"/>
                  </a:lnTo>
                  <a:lnTo>
                    <a:pt x="194" y="803"/>
                  </a:lnTo>
                  <a:lnTo>
                    <a:pt x="196" y="801"/>
                  </a:lnTo>
                  <a:lnTo>
                    <a:pt x="200" y="800"/>
                  </a:lnTo>
                  <a:lnTo>
                    <a:pt x="200" y="800"/>
                  </a:lnTo>
                  <a:lnTo>
                    <a:pt x="201" y="798"/>
                  </a:lnTo>
                  <a:lnTo>
                    <a:pt x="205" y="798"/>
                  </a:lnTo>
                  <a:lnTo>
                    <a:pt x="209" y="798"/>
                  </a:lnTo>
                  <a:lnTo>
                    <a:pt x="209" y="798"/>
                  </a:lnTo>
                  <a:lnTo>
                    <a:pt x="216" y="798"/>
                  </a:lnTo>
                  <a:lnTo>
                    <a:pt x="221" y="798"/>
                  </a:lnTo>
                  <a:lnTo>
                    <a:pt x="223" y="800"/>
                  </a:lnTo>
                  <a:lnTo>
                    <a:pt x="223" y="800"/>
                  </a:lnTo>
                  <a:lnTo>
                    <a:pt x="225" y="807"/>
                  </a:lnTo>
                  <a:lnTo>
                    <a:pt x="225" y="810"/>
                  </a:lnTo>
                  <a:lnTo>
                    <a:pt x="225" y="812"/>
                  </a:lnTo>
                  <a:lnTo>
                    <a:pt x="225" y="812"/>
                  </a:lnTo>
                  <a:lnTo>
                    <a:pt x="225" y="814"/>
                  </a:lnTo>
                  <a:lnTo>
                    <a:pt x="225" y="816"/>
                  </a:lnTo>
                  <a:lnTo>
                    <a:pt x="229" y="821"/>
                  </a:lnTo>
                  <a:lnTo>
                    <a:pt x="229" y="821"/>
                  </a:lnTo>
                  <a:lnTo>
                    <a:pt x="230" y="822"/>
                  </a:lnTo>
                  <a:lnTo>
                    <a:pt x="233" y="823"/>
                  </a:lnTo>
                  <a:lnTo>
                    <a:pt x="240" y="823"/>
                  </a:lnTo>
                  <a:lnTo>
                    <a:pt x="240" y="823"/>
                  </a:lnTo>
                  <a:lnTo>
                    <a:pt x="244" y="829"/>
                  </a:lnTo>
                  <a:lnTo>
                    <a:pt x="247" y="833"/>
                  </a:lnTo>
                  <a:lnTo>
                    <a:pt x="247" y="836"/>
                  </a:lnTo>
                  <a:lnTo>
                    <a:pt x="247" y="836"/>
                  </a:lnTo>
                  <a:lnTo>
                    <a:pt x="247" y="837"/>
                  </a:lnTo>
                  <a:lnTo>
                    <a:pt x="248" y="839"/>
                  </a:lnTo>
                  <a:lnTo>
                    <a:pt x="252" y="839"/>
                  </a:lnTo>
                  <a:lnTo>
                    <a:pt x="252" y="839"/>
                  </a:lnTo>
                  <a:lnTo>
                    <a:pt x="254" y="839"/>
                  </a:lnTo>
                  <a:lnTo>
                    <a:pt x="257" y="840"/>
                  </a:lnTo>
                  <a:lnTo>
                    <a:pt x="261" y="843"/>
                  </a:lnTo>
                  <a:lnTo>
                    <a:pt x="261" y="843"/>
                  </a:lnTo>
                  <a:lnTo>
                    <a:pt x="264" y="843"/>
                  </a:lnTo>
                  <a:lnTo>
                    <a:pt x="268" y="841"/>
                  </a:lnTo>
                  <a:lnTo>
                    <a:pt x="268" y="841"/>
                  </a:lnTo>
                  <a:lnTo>
                    <a:pt x="273" y="840"/>
                  </a:lnTo>
                  <a:lnTo>
                    <a:pt x="275" y="840"/>
                  </a:lnTo>
                  <a:lnTo>
                    <a:pt x="277" y="841"/>
                  </a:lnTo>
                  <a:lnTo>
                    <a:pt x="277" y="841"/>
                  </a:lnTo>
                  <a:lnTo>
                    <a:pt x="280" y="846"/>
                  </a:lnTo>
                  <a:lnTo>
                    <a:pt x="284" y="850"/>
                  </a:lnTo>
                  <a:lnTo>
                    <a:pt x="284" y="850"/>
                  </a:lnTo>
                  <a:lnTo>
                    <a:pt x="286" y="850"/>
                  </a:lnTo>
                  <a:lnTo>
                    <a:pt x="289" y="850"/>
                  </a:lnTo>
                  <a:lnTo>
                    <a:pt x="293" y="850"/>
                  </a:lnTo>
                  <a:lnTo>
                    <a:pt x="297" y="851"/>
                  </a:lnTo>
                  <a:lnTo>
                    <a:pt x="297" y="851"/>
                  </a:lnTo>
                  <a:lnTo>
                    <a:pt x="302" y="853"/>
                  </a:lnTo>
                  <a:lnTo>
                    <a:pt x="307" y="854"/>
                  </a:lnTo>
                  <a:lnTo>
                    <a:pt x="309" y="855"/>
                  </a:lnTo>
                  <a:lnTo>
                    <a:pt x="309" y="855"/>
                  </a:lnTo>
                  <a:lnTo>
                    <a:pt x="316" y="858"/>
                  </a:lnTo>
                  <a:lnTo>
                    <a:pt x="318" y="858"/>
                  </a:lnTo>
                  <a:lnTo>
                    <a:pt x="319" y="861"/>
                  </a:lnTo>
                  <a:lnTo>
                    <a:pt x="319" y="861"/>
                  </a:lnTo>
                  <a:lnTo>
                    <a:pt x="318" y="862"/>
                  </a:lnTo>
                  <a:lnTo>
                    <a:pt x="316" y="864"/>
                  </a:lnTo>
                  <a:lnTo>
                    <a:pt x="315" y="866"/>
                  </a:lnTo>
                  <a:lnTo>
                    <a:pt x="315" y="866"/>
                  </a:lnTo>
                  <a:lnTo>
                    <a:pt x="316" y="869"/>
                  </a:lnTo>
                  <a:lnTo>
                    <a:pt x="318" y="871"/>
                  </a:lnTo>
                  <a:lnTo>
                    <a:pt x="318" y="872"/>
                  </a:lnTo>
                  <a:lnTo>
                    <a:pt x="318" y="872"/>
                  </a:lnTo>
                  <a:lnTo>
                    <a:pt x="318" y="873"/>
                  </a:lnTo>
                  <a:lnTo>
                    <a:pt x="315" y="873"/>
                  </a:lnTo>
                  <a:lnTo>
                    <a:pt x="314" y="875"/>
                  </a:lnTo>
                  <a:lnTo>
                    <a:pt x="312" y="875"/>
                  </a:lnTo>
                  <a:lnTo>
                    <a:pt x="312" y="875"/>
                  </a:lnTo>
                  <a:lnTo>
                    <a:pt x="312" y="876"/>
                  </a:lnTo>
                  <a:lnTo>
                    <a:pt x="314" y="879"/>
                  </a:lnTo>
                  <a:lnTo>
                    <a:pt x="316" y="882"/>
                  </a:lnTo>
                  <a:lnTo>
                    <a:pt x="316" y="882"/>
                  </a:lnTo>
                  <a:lnTo>
                    <a:pt x="315" y="886"/>
                  </a:lnTo>
                  <a:lnTo>
                    <a:pt x="314" y="890"/>
                  </a:lnTo>
                  <a:lnTo>
                    <a:pt x="314" y="890"/>
                  </a:lnTo>
                  <a:lnTo>
                    <a:pt x="312" y="891"/>
                  </a:lnTo>
                  <a:lnTo>
                    <a:pt x="308" y="891"/>
                  </a:lnTo>
                  <a:lnTo>
                    <a:pt x="301" y="890"/>
                  </a:lnTo>
                  <a:lnTo>
                    <a:pt x="301" y="890"/>
                  </a:lnTo>
                  <a:lnTo>
                    <a:pt x="298" y="891"/>
                  </a:lnTo>
                  <a:lnTo>
                    <a:pt x="294" y="894"/>
                  </a:lnTo>
                  <a:lnTo>
                    <a:pt x="291" y="897"/>
                  </a:lnTo>
                  <a:lnTo>
                    <a:pt x="289" y="898"/>
                  </a:lnTo>
                  <a:lnTo>
                    <a:pt x="289" y="898"/>
                  </a:lnTo>
                  <a:lnTo>
                    <a:pt x="287" y="900"/>
                  </a:lnTo>
                  <a:lnTo>
                    <a:pt x="287" y="901"/>
                  </a:lnTo>
                  <a:lnTo>
                    <a:pt x="289" y="905"/>
                  </a:lnTo>
                  <a:lnTo>
                    <a:pt x="289" y="905"/>
                  </a:lnTo>
                  <a:lnTo>
                    <a:pt x="298" y="905"/>
                  </a:lnTo>
                  <a:lnTo>
                    <a:pt x="302" y="905"/>
                  </a:lnTo>
                  <a:lnTo>
                    <a:pt x="304" y="905"/>
                  </a:lnTo>
                  <a:lnTo>
                    <a:pt x="304" y="905"/>
                  </a:lnTo>
                  <a:lnTo>
                    <a:pt x="304" y="907"/>
                  </a:lnTo>
                  <a:lnTo>
                    <a:pt x="302" y="908"/>
                  </a:lnTo>
                  <a:lnTo>
                    <a:pt x="296" y="912"/>
                  </a:lnTo>
                  <a:lnTo>
                    <a:pt x="284" y="916"/>
                  </a:lnTo>
                  <a:lnTo>
                    <a:pt x="284" y="916"/>
                  </a:lnTo>
                  <a:lnTo>
                    <a:pt x="284" y="918"/>
                  </a:lnTo>
                  <a:lnTo>
                    <a:pt x="284" y="918"/>
                  </a:lnTo>
                  <a:lnTo>
                    <a:pt x="286" y="921"/>
                  </a:lnTo>
                  <a:lnTo>
                    <a:pt x="289" y="923"/>
                  </a:lnTo>
                  <a:lnTo>
                    <a:pt x="290" y="926"/>
                  </a:lnTo>
                  <a:lnTo>
                    <a:pt x="290" y="926"/>
                  </a:lnTo>
                  <a:lnTo>
                    <a:pt x="289" y="928"/>
                  </a:lnTo>
                  <a:lnTo>
                    <a:pt x="286" y="929"/>
                  </a:lnTo>
                  <a:lnTo>
                    <a:pt x="282" y="932"/>
                  </a:lnTo>
                  <a:lnTo>
                    <a:pt x="282" y="933"/>
                  </a:lnTo>
                  <a:lnTo>
                    <a:pt x="282" y="934"/>
                  </a:lnTo>
                  <a:lnTo>
                    <a:pt x="282" y="934"/>
                  </a:lnTo>
                  <a:lnTo>
                    <a:pt x="282" y="939"/>
                  </a:lnTo>
                  <a:lnTo>
                    <a:pt x="279" y="940"/>
                  </a:lnTo>
                  <a:lnTo>
                    <a:pt x="276" y="941"/>
                  </a:lnTo>
                  <a:lnTo>
                    <a:pt x="273" y="941"/>
                  </a:lnTo>
                  <a:lnTo>
                    <a:pt x="273" y="941"/>
                  </a:lnTo>
                  <a:lnTo>
                    <a:pt x="269" y="941"/>
                  </a:lnTo>
                  <a:lnTo>
                    <a:pt x="268" y="943"/>
                  </a:lnTo>
                  <a:lnTo>
                    <a:pt x="268" y="944"/>
                  </a:lnTo>
                  <a:lnTo>
                    <a:pt x="269" y="946"/>
                  </a:lnTo>
                  <a:lnTo>
                    <a:pt x="269" y="946"/>
                  </a:lnTo>
                  <a:lnTo>
                    <a:pt x="271" y="947"/>
                  </a:lnTo>
                  <a:lnTo>
                    <a:pt x="272" y="950"/>
                  </a:lnTo>
                  <a:lnTo>
                    <a:pt x="275" y="953"/>
                  </a:lnTo>
                  <a:lnTo>
                    <a:pt x="280" y="955"/>
                  </a:lnTo>
                  <a:lnTo>
                    <a:pt x="280" y="955"/>
                  </a:lnTo>
                  <a:lnTo>
                    <a:pt x="289" y="958"/>
                  </a:lnTo>
                  <a:lnTo>
                    <a:pt x="296" y="964"/>
                  </a:lnTo>
                  <a:lnTo>
                    <a:pt x="304" y="969"/>
                  </a:lnTo>
                  <a:lnTo>
                    <a:pt x="309" y="976"/>
                  </a:lnTo>
                  <a:lnTo>
                    <a:pt x="309" y="976"/>
                  </a:lnTo>
                  <a:lnTo>
                    <a:pt x="314" y="979"/>
                  </a:lnTo>
                  <a:lnTo>
                    <a:pt x="314" y="979"/>
                  </a:lnTo>
                  <a:lnTo>
                    <a:pt x="321" y="976"/>
                  </a:lnTo>
                  <a:lnTo>
                    <a:pt x="321" y="976"/>
                  </a:lnTo>
                  <a:lnTo>
                    <a:pt x="325" y="976"/>
                  </a:lnTo>
                  <a:lnTo>
                    <a:pt x="329" y="978"/>
                  </a:lnTo>
                  <a:lnTo>
                    <a:pt x="339" y="982"/>
                  </a:lnTo>
                  <a:lnTo>
                    <a:pt x="339" y="982"/>
                  </a:lnTo>
                  <a:lnTo>
                    <a:pt x="344" y="983"/>
                  </a:lnTo>
                  <a:lnTo>
                    <a:pt x="352" y="983"/>
                  </a:lnTo>
                  <a:lnTo>
                    <a:pt x="359" y="983"/>
                  </a:lnTo>
                  <a:lnTo>
                    <a:pt x="364" y="984"/>
                  </a:lnTo>
                  <a:lnTo>
                    <a:pt x="364" y="984"/>
                  </a:lnTo>
                  <a:lnTo>
                    <a:pt x="368" y="989"/>
                  </a:lnTo>
                  <a:lnTo>
                    <a:pt x="370" y="990"/>
                  </a:lnTo>
                  <a:lnTo>
                    <a:pt x="373" y="990"/>
                  </a:lnTo>
                  <a:lnTo>
                    <a:pt x="373" y="990"/>
                  </a:lnTo>
                  <a:lnTo>
                    <a:pt x="375" y="991"/>
                  </a:lnTo>
                  <a:lnTo>
                    <a:pt x="377" y="994"/>
                  </a:lnTo>
                  <a:lnTo>
                    <a:pt x="380" y="996"/>
                  </a:lnTo>
                  <a:lnTo>
                    <a:pt x="383" y="996"/>
                  </a:lnTo>
                  <a:lnTo>
                    <a:pt x="383" y="996"/>
                  </a:lnTo>
                  <a:lnTo>
                    <a:pt x="386" y="994"/>
                  </a:lnTo>
                  <a:lnTo>
                    <a:pt x="390" y="994"/>
                  </a:lnTo>
                  <a:lnTo>
                    <a:pt x="398" y="993"/>
                  </a:lnTo>
                  <a:lnTo>
                    <a:pt x="398" y="993"/>
                  </a:lnTo>
                  <a:lnTo>
                    <a:pt x="401" y="994"/>
                  </a:lnTo>
                  <a:lnTo>
                    <a:pt x="404" y="996"/>
                  </a:lnTo>
                  <a:lnTo>
                    <a:pt x="404" y="996"/>
                  </a:lnTo>
                  <a:lnTo>
                    <a:pt x="405" y="997"/>
                  </a:lnTo>
                  <a:lnTo>
                    <a:pt x="407" y="1001"/>
                  </a:lnTo>
                  <a:lnTo>
                    <a:pt x="408" y="1004"/>
                  </a:lnTo>
                  <a:lnTo>
                    <a:pt x="409" y="1005"/>
                  </a:lnTo>
                  <a:lnTo>
                    <a:pt x="409" y="1005"/>
                  </a:lnTo>
                  <a:lnTo>
                    <a:pt x="411" y="1005"/>
                  </a:lnTo>
                  <a:lnTo>
                    <a:pt x="415" y="1008"/>
                  </a:lnTo>
                  <a:lnTo>
                    <a:pt x="419" y="1011"/>
                  </a:lnTo>
                  <a:lnTo>
                    <a:pt x="423" y="1012"/>
                  </a:lnTo>
                  <a:lnTo>
                    <a:pt x="423" y="1012"/>
                  </a:lnTo>
                  <a:lnTo>
                    <a:pt x="427" y="1014"/>
                  </a:lnTo>
                  <a:lnTo>
                    <a:pt x="430" y="1016"/>
                  </a:lnTo>
                  <a:lnTo>
                    <a:pt x="433" y="1019"/>
                  </a:lnTo>
                  <a:lnTo>
                    <a:pt x="436" y="1021"/>
                  </a:lnTo>
                  <a:lnTo>
                    <a:pt x="436" y="1021"/>
                  </a:lnTo>
                  <a:lnTo>
                    <a:pt x="437" y="1021"/>
                  </a:lnTo>
                  <a:lnTo>
                    <a:pt x="439" y="1022"/>
                  </a:lnTo>
                  <a:lnTo>
                    <a:pt x="441" y="1022"/>
                  </a:lnTo>
                  <a:lnTo>
                    <a:pt x="443" y="1021"/>
                  </a:lnTo>
                  <a:lnTo>
                    <a:pt x="443" y="1021"/>
                  </a:lnTo>
                  <a:lnTo>
                    <a:pt x="444" y="1019"/>
                  </a:lnTo>
                  <a:lnTo>
                    <a:pt x="447" y="1018"/>
                  </a:lnTo>
                  <a:lnTo>
                    <a:pt x="450" y="1016"/>
                  </a:lnTo>
                  <a:lnTo>
                    <a:pt x="452" y="1014"/>
                  </a:lnTo>
                  <a:lnTo>
                    <a:pt x="452" y="1014"/>
                  </a:lnTo>
                  <a:lnTo>
                    <a:pt x="440" y="997"/>
                  </a:lnTo>
                  <a:lnTo>
                    <a:pt x="436" y="990"/>
                  </a:lnTo>
                  <a:lnTo>
                    <a:pt x="434" y="986"/>
                  </a:lnTo>
                  <a:lnTo>
                    <a:pt x="434" y="986"/>
                  </a:lnTo>
                  <a:lnTo>
                    <a:pt x="434" y="980"/>
                  </a:lnTo>
                  <a:lnTo>
                    <a:pt x="434" y="975"/>
                  </a:lnTo>
                  <a:lnTo>
                    <a:pt x="433" y="971"/>
                  </a:lnTo>
                  <a:lnTo>
                    <a:pt x="429" y="965"/>
                  </a:lnTo>
                  <a:lnTo>
                    <a:pt x="429" y="965"/>
                  </a:lnTo>
                  <a:lnTo>
                    <a:pt x="426" y="961"/>
                  </a:lnTo>
                  <a:lnTo>
                    <a:pt x="425" y="958"/>
                  </a:lnTo>
                  <a:lnTo>
                    <a:pt x="425" y="955"/>
                  </a:lnTo>
                  <a:lnTo>
                    <a:pt x="426" y="954"/>
                  </a:lnTo>
                  <a:lnTo>
                    <a:pt x="430" y="948"/>
                  </a:lnTo>
                  <a:lnTo>
                    <a:pt x="436" y="941"/>
                  </a:lnTo>
                  <a:lnTo>
                    <a:pt x="436" y="941"/>
                  </a:lnTo>
                  <a:lnTo>
                    <a:pt x="441" y="936"/>
                  </a:lnTo>
                  <a:lnTo>
                    <a:pt x="450" y="933"/>
                  </a:lnTo>
                  <a:lnTo>
                    <a:pt x="457" y="929"/>
                  </a:lnTo>
                  <a:lnTo>
                    <a:pt x="464" y="925"/>
                  </a:lnTo>
                  <a:lnTo>
                    <a:pt x="464" y="925"/>
                  </a:lnTo>
                  <a:lnTo>
                    <a:pt x="459" y="922"/>
                  </a:lnTo>
                  <a:lnTo>
                    <a:pt x="459" y="922"/>
                  </a:lnTo>
                  <a:lnTo>
                    <a:pt x="455" y="919"/>
                  </a:lnTo>
                  <a:lnTo>
                    <a:pt x="452" y="918"/>
                  </a:lnTo>
                  <a:lnTo>
                    <a:pt x="452" y="916"/>
                  </a:lnTo>
                  <a:lnTo>
                    <a:pt x="455" y="915"/>
                  </a:lnTo>
                  <a:lnTo>
                    <a:pt x="455" y="915"/>
                  </a:lnTo>
                  <a:lnTo>
                    <a:pt x="458" y="914"/>
                  </a:lnTo>
                  <a:lnTo>
                    <a:pt x="458" y="912"/>
                  </a:lnTo>
                  <a:lnTo>
                    <a:pt x="454" y="905"/>
                  </a:lnTo>
                  <a:lnTo>
                    <a:pt x="454" y="905"/>
                  </a:lnTo>
                  <a:lnTo>
                    <a:pt x="447" y="897"/>
                  </a:lnTo>
                  <a:lnTo>
                    <a:pt x="445" y="896"/>
                  </a:lnTo>
                  <a:lnTo>
                    <a:pt x="444" y="894"/>
                  </a:lnTo>
                  <a:lnTo>
                    <a:pt x="444" y="894"/>
                  </a:lnTo>
                  <a:lnTo>
                    <a:pt x="439" y="894"/>
                  </a:lnTo>
                  <a:lnTo>
                    <a:pt x="433" y="894"/>
                  </a:lnTo>
                  <a:lnTo>
                    <a:pt x="433" y="894"/>
                  </a:lnTo>
                  <a:lnTo>
                    <a:pt x="430" y="894"/>
                  </a:lnTo>
                  <a:lnTo>
                    <a:pt x="429" y="893"/>
                  </a:lnTo>
                  <a:lnTo>
                    <a:pt x="430" y="886"/>
                  </a:lnTo>
                  <a:lnTo>
                    <a:pt x="430" y="886"/>
                  </a:lnTo>
                  <a:lnTo>
                    <a:pt x="429" y="883"/>
                  </a:lnTo>
                  <a:lnTo>
                    <a:pt x="426" y="882"/>
                  </a:lnTo>
                  <a:lnTo>
                    <a:pt x="423" y="882"/>
                  </a:lnTo>
                  <a:lnTo>
                    <a:pt x="420" y="880"/>
                  </a:lnTo>
                  <a:lnTo>
                    <a:pt x="420" y="880"/>
                  </a:lnTo>
                  <a:lnTo>
                    <a:pt x="420" y="878"/>
                  </a:lnTo>
                  <a:lnTo>
                    <a:pt x="422" y="875"/>
                  </a:lnTo>
                  <a:lnTo>
                    <a:pt x="425" y="871"/>
                  </a:lnTo>
                  <a:lnTo>
                    <a:pt x="425" y="871"/>
                  </a:lnTo>
                  <a:lnTo>
                    <a:pt x="427" y="869"/>
                  </a:lnTo>
                  <a:lnTo>
                    <a:pt x="429" y="866"/>
                  </a:lnTo>
                  <a:lnTo>
                    <a:pt x="430" y="865"/>
                  </a:lnTo>
                  <a:lnTo>
                    <a:pt x="430" y="865"/>
                  </a:lnTo>
                  <a:lnTo>
                    <a:pt x="429" y="864"/>
                  </a:lnTo>
                  <a:lnTo>
                    <a:pt x="426" y="862"/>
                  </a:lnTo>
                  <a:lnTo>
                    <a:pt x="425" y="861"/>
                  </a:lnTo>
                  <a:lnTo>
                    <a:pt x="425" y="858"/>
                  </a:lnTo>
                  <a:lnTo>
                    <a:pt x="425" y="858"/>
                  </a:lnTo>
                  <a:lnTo>
                    <a:pt x="427" y="855"/>
                  </a:lnTo>
                  <a:lnTo>
                    <a:pt x="430" y="853"/>
                  </a:lnTo>
                  <a:lnTo>
                    <a:pt x="432" y="851"/>
                  </a:lnTo>
                  <a:lnTo>
                    <a:pt x="433" y="848"/>
                  </a:lnTo>
                  <a:lnTo>
                    <a:pt x="433" y="848"/>
                  </a:lnTo>
                  <a:lnTo>
                    <a:pt x="434" y="844"/>
                  </a:lnTo>
                  <a:lnTo>
                    <a:pt x="436" y="843"/>
                  </a:lnTo>
                  <a:lnTo>
                    <a:pt x="439" y="841"/>
                  </a:lnTo>
                  <a:lnTo>
                    <a:pt x="443" y="843"/>
                  </a:lnTo>
                  <a:lnTo>
                    <a:pt x="443" y="843"/>
                  </a:lnTo>
                  <a:lnTo>
                    <a:pt x="445" y="846"/>
                  </a:lnTo>
                  <a:lnTo>
                    <a:pt x="448" y="850"/>
                  </a:lnTo>
                  <a:lnTo>
                    <a:pt x="451" y="853"/>
                  </a:lnTo>
                  <a:lnTo>
                    <a:pt x="452" y="854"/>
                  </a:lnTo>
                  <a:lnTo>
                    <a:pt x="455" y="853"/>
                  </a:lnTo>
                  <a:lnTo>
                    <a:pt x="455" y="853"/>
                  </a:lnTo>
                  <a:lnTo>
                    <a:pt x="457" y="851"/>
                  </a:lnTo>
                  <a:lnTo>
                    <a:pt x="458" y="848"/>
                  </a:lnTo>
                  <a:lnTo>
                    <a:pt x="457" y="843"/>
                  </a:lnTo>
                  <a:lnTo>
                    <a:pt x="457" y="843"/>
                  </a:lnTo>
                  <a:lnTo>
                    <a:pt x="455" y="839"/>
                  </a:lnTo>
                  <a:lnTo>
                    <a:pt x="457" y="836"/>
                  </a:lnTo>
                  <a:lnTo>
                    <a:pt x="461" y="835"/>
                  </a:lnTo>
                  <a:lnTo>
                    <a:pt x="461" y="835"/>
                  </a:lnTo>
                  <a:lnTo>
                    <a:pt x="464" y="833"/>
                  </a:lnTo>
                  <a:lnTo>
                    <a:pt x="465" y="830"/>
                  </a:lnTo>
                  <a:lnTo>
                    <a:pt x="466" y="829"/>
                  </a:lnTo>
                  <a:lnTo>
                    <a:pt x="469" y="828"/>
                  </a:lnTo>
                  <a:lnTo>
                    <a:pt x="469" y="828"/>
                  </a:lnTo>
                  <a:lnTo>
                    <a:pt x="473" y="826"/>
                  </a:lnTo>
                  <a:lnTo>
                    <a:pt x="477" y="825"/>
                  </a:lnTo>
                  <a:lnTo>
                    <a:pt x="486" y="819"/>
                  </a:lnTo>
                  <a:lnTo>
                    <a:pt x="486" y="819"/>
                  </a:lnTo>
                  <a:lnTo>
                    <a:pt x="491" y="816"/>
                  </a:lnTo>
                  <a:lnTo>
                    <a:pt x="494" y="816"/>
                  </a:lnTo>
                  <a:lnTo>
                    <a:pt x="497" y="816"/>
                  </a:lnTo>
                  <a:lnTo>
                    <a:pt x="497" y="816"/>
                  </a:lnTo>
                  <a:lnTo>
                    <a:pt x="501" y="819"/>
                  </a:lnTo>
                  <a:lnTo>
                    <a:pt x="504" y="818"/>
                  </a:lnTo>
                  <a:lnTo>
                    <a:pt x="505" y="816"/>
                  </a:lnTo>
                  <a:lnTo>
                    <a:pt x="505" y="816"/>
                  </a:lnTo>
                  <a:lnTo>
                    <a:pt x="508" y="814"/>
                  </a:lnTo>
                  <a:lnTo>
                    <a:pt x="511" y="814"/>
                  </a:lnTo>
                  <a:lnTo>
                    <a:pt x="515" y="815"/>
                  </a:lnTo>
                  <a:lnTo>
                    <a:pt x="516" y="816"/>
                  </a:lnTo>
                  <a:lnTo>
                    <a:pt x="516" y="816"/>
                  </a:lnTo>
                  <a:lnTo>
                    <a:pt x="519" y="818"/>
                  </a:lnTo>
                  <a:lnTo>
                    <a:pt x="525" y="819"/>
                  </a:lnTo>
                  <a:lnTo>
                    <a:pt x="530" y="821"/>
                  </a:lnTo>
                  <a:lnTo>
                    <a:pt x="534" y="822"/>
                  </a:lnTo>
                  <a:lnTo>
                    <a:pt x="534" y="822"/>
                  </a:lnTo>
                  <a:lnTo>
                    <a:pt x="543" y="828"/>
                  </a:lnTo>
                  <a:lnTo>
                    <a:pt x="545" y="830"/>
                  </a:lnTo>
                  <a:lnTo>
                    <a:pt x="548" y="833"/>
                  </a:lnTo>
                  <a:lnTo>
                    <a:pt x="548" y="833"/>
                  </a:lnTo>
                  <a:lnTo>
                    <a:pt x="548" y="835"/>
                  </a:lnTo>
                  <a:lnTo>
                    <a:pt x="550" y="837"/>
                  </a:lnTo>
                  <a:lnTo>
                    <a:pt x="551" y="837"/>
                  </a:lnTo>
                  <a:lnTo>
                    <a:pt x="552" y="835"/>
                  </a:lnTo>
                  <a:lnTo>
                    <a:pt x="552" y="835"/>
                  </a:lnTo>
                  <a:lnTo>
                    <a:pt x="552" y="833"/>
                  </a:lnTo>
                  <a:lnTo>
                    <a:pt x="554" y="832"/>
                  </a:lnTo>
                  <a:lnTo>
                    <a:pt x="561" y="835"/>
                  </a:lnTo>
                  <a:lnTo>
                    <a:pt x="561" y="835"/>
                  </a:lnTo>
                  <a:lnTo>
                    <a:pt x="565" y="837"/>
                  </a:lnTo>
                  <a:lnTo>
                    <a:pt x="569" y="837"/>
                  </a:lnTo>
                  <a:lnTo>
                    <a:pt x="573" y="836"/>
                  </a:lnTo>
                  <a:lnTo>
                    <a:pt x="576" y="833"/>
                  </a:lnTo>
                  <a:lnTo>
                    <a:pt x="576" y="833"/>
                  </a:lnTo>
                  <a:lnTo>
                    <a:pt x="577" y="830"/>
                  </a:lnTo>
                  <a:lnTo>
                    <a:pt x="582" y="829"/>
                  </a:lnTo>
                  <a:lnTo>
                    <a:pt x="587" y="828"/>
                  </a:lnTo>
                  <a:lnTo>
                    <a:pt x="591" y="829"/>
                  </a:lnTo>
                  <a:lnTo>
                    <a:pt x="591" y="829"/>
                  </a:lnTo>
                  <a:lnTo>
                    <a:pt x="595" y="832"/>
                  </a:lnTo>
                  <a:lnTo>
                    <a:pt x="597" y="832"/>
                  </a:lnTo>
                  <a:lnTo>
                    <a:pt x="600" y="829"/>
                  </a:lnTo>
                  <a:lnTo>
                    <a:pt x="600" y="829"/>
                  </a:lnTo>
                  <a:lnTo>
                    <a:pt x="604" y="828"/>
                  </a:lnTo>
                  <a:lnTo>
                    <a:pt x="608" y="826"/>
                  </a:lnTo>
                  <a:lnTo>
                    <a:pt x="612" y="828"/>
                  </a:lnTo>
                  <a:lnTo>
                    <a:pt x="615" y="830"/>
                  </a:lnTo>
                  <a:lnTo>
                    <a:pt x="615" y="830"/>
                  </a:lnTo>
                  <a:lnTo>
                    <a:pt x="616" y="833"/>
                  </a:lnTo>
                  <a:lnTo>
                    <a:pt x="619" y="835"/>
                  </a:lnTo>
                  <a:lnTo>
                    <a:pt x="626" y="835"/>
                  </a:lnTo>
                  <a:lnTo>
                    <a:pt x="626" y="835"/>
                  </a:lnTo>
                  <a:lnTo>
                    <a:pt x="627" y="836"/>
                  </a:lnTo>
                  <a:lnTo>
                    <a:pt x="630" y="839"/>
                  </a:lnTo>
                  <a:lnTo>
                    <a:pt x="631" y="840"/>
                  </a:lnTo>
                  <a:lnTo>
                    <a:pt x="633" y="840"/>
                  </a:lnTo>
                  <a:lnTo>
                    <a:pt x="633" y="840"/>
                  </a:lnTo>
                  <a:lnTo>
                    <a:pt x="634" y="839"/>
                  </a:lnTo>
                  <a:lnTo>
                    <a:pt x="636" y="836"/>
                  </a:lnTo>
                  <a:lnTo>
                    <a:pt x="637" y="833"/>
                  </a:lnTo>
                  <a:lnTo>
                    <a:pt x="638" y="832"/>
                  </a:lnTo>
                  <a:lnTo>
                    <a:pt x="638" y="832"/>
                  </a:lnTo>
                  <a:lnTo>
                    <a:pt x="644" y="835"/>
                  </a:lnTo>
                  <a:lnTo>
                    <a:pt x="647" y="836"/>
                  </a:lnTo>
                  <a:lnTo>
                    <a:pt x="651" y="837"/>
                  </a:lnTo>
                  <a:lnTo>
                    <a:pt x="651" y="837"/>
                  </a:lnTo>
                  <a:lnTo>
                    <a:pt x="654" y="837"/>
                  </a:lnTo>
                  <a:lnTo>
                    <a:pt x="658" y="836"/>
                  </a:lnTo>
                  <a:lnTo>
                    <a:pt x="659" y="835"/>
                  </a:lnTo>
                  <a:lnTo>
                    <a:pt x="661" y="832"/>
                  </a:lnTo>
                  <a:lnTo>
                    <a:pt x="661" y="832"/>
                  </a:lnTo>
                  <a:lnTo>
                    <a:pt x="659" y="825"/>
                  </a:lnTo>
                  <a:lnTo>
                    <a:pt x="658" y="822"/>
                  </a:lnTo>
                  <a:lnTo>
                    <a:pt x="656" y="821"/>
                  </a:lnTo>
                  <a:lnTo>
                    <a:pt x="656" y="821"/>
                  </a:lnTo>
                  <a:lnTo>
                    <a:pt x="651" y="819"/>
                  </a:lnTo>
                  <a:lnTo>
                    <a:pt x="648" y="818"/>
                  </a:lnTo>
                  <a:lnTo>
                    <a:pt x="645" y="816"/>
                  </a:lnTo>
                  <a:lnTo>
                    <a:pt x="645" y="816"/>
                  </a:lnTo>
                  <a:lnTo>
                    <a:pt x="641" y="816"/>
                  </a:lnTo>
                  <a:lnTo>
                    <a:pt x="640" y="814"/>
                  </a:lnTo>
                  <a:lnTo>
                    <a:pt x="638" y="811"/>
                  </a:lnTo>
                  <a:lnTo>
                    <a:pt x="641" y="808"/>
                  </a:lnTo>
                  <a:lnTo>
                    <a:pt x="641" y="808"/>
                  </a:lnTo>
                  <a:lnTo>
                    <a:pt x="648" y="805"/>
                  </a:lnTo>
                  <a:lnTo>
                    <a:pt x="650" y="803"/>
                  </a:lnTo>
                  <a:lnTo>
                    <a:pt x="651" y="800"/>
                  </a:lnTo>
                  <a:lnTo>
                    <a:pt x="651" y="800"/>
                  </a:lnTo>
                  <a:lnTo>
                    <a:pt x="650" y="797"/>
                  </a:lnTo>
                  <a:lnTo>
                    <a:pt x="650" y="794"/>
                  </a:lnTo>
                  <a:lnTo>
                    <a:pt x="650" y="790"/>
                  </a:lnTo>
                  <a:lnTo>
                    <a:pt x="654" y="789"/>
                  </a:lnTo>
                  <a:lnTo>
                    <a:pt x="654" y="789"/>
                  </a:lnTo>
                  <a:lnTo>
                    <a:pt x="663" y="789"/>
                  </a:lnTo>
                  <a:lnTo>
                    <a:pt x="668" y="787"/>
                  </a:lnTo>
                  <a:lnTo>
                    <a:pt x="670" y="786"/>
                  </a:lnTo>
                  <a:lnTo>
                    <a:pt x="670" y="786"/>
                  </a:lnTo>
                  <a:lnTo>
                    <a:pt x="668" y="785"/>
                  </a:lnTo>
                  <a:lnTo>
                    <a:pt x="663" y="783"/>
                  </a:lnTo>
                  <a:lnTo>
                    <a:pt x="659" y="782"/>
                  </a:lnTo>
                  <a:lnTo>
                    <a:pt x="656" y="779"/>
                  </a:lnTo>
                  <a:lnTo>
                    <a:pt x="656" y="779"/>
                  </a:lnTo>
                  <a:lnTo>
                    <a:pt x="655" y="776"/>
                  </a:lnTo>
                  <a:lnTo>
                    <a:pt x="654" y="772"/>
                  </a:lnTo>
                  <a:lnTo>
                    <a:pt x="654" y="768"/>
                  </a:lnTo>
                  <a:lnTo>
                    <a:pt x="655" y="767"/>
                  </a:lnTo>
                  <a:lnTo>
                    <a:pt x="655" y="767"/>
                  </a:lnTo>
                  <a:lnTo>
                    <a:pt x="658" y="767"/>
                  </a:lnTo>
                  <a:lnTo>
                    <a:pt x="661" y="767"/>
                  </a:lnTo>
                  <a:lnTo>
                    <a:pt x="665" y="767"/>
                  </a:lnTo>
                  <a:lnTo>
                    <a:pt x="669" y="765"/>
                  </a:lnTo>
                  <a:lnTo>
                    <a:pt x="669" y="765"/>
                  </a:lnTo>
                  <a:lnTo>
                    <a:pt x="672" y="765"/>
                  </a:lnTo>
                  <a:lnTo>
                    <a:pt x="677" y="765"/>
                  </a:lnTo>
                  <a:lnTo>
                    <a:pt x="683" y="765"/>
                  </a:lnTo>
                  <a:lnTo>
                    <a:pt x="687" y="764"/>
                  </a:lnTo>
                  <a:lnTo>
                    <a:pt x="687" y="764"/>
                  </a:lnTo>
                  <a:lnTo>
                    <a:pt x="693" y="761"/>
                  </a:lnTo>
                  <a:lnTo>
                    <a:pt x="698" y="760"/>
                  </a:lnTo>
                  <a:lnTo>
                    <a:pt x="711" y="758"/>
                  </a:lnTo>
                  <a:lnTo>
                    <a:pt x="711" y="758"/>
                  </a:lnTo>
                  <a:lnTo>
                    <a:pt x="715" y="758"/>
                  </a:lnTo>
                  <a:lnTo>
                    <a:pt x="719" y="757"/>
                  </a:lnTo>
                  <a:lnTo>
                    <a:pt x="727" y="754"/>
                  </a:lnTo>
                  <a:lnTo>
                    <a:pt x="727" y="754"/>
                  </a:lnTo>
                  <a:lnTo>
                    <a:pt x="738" y="753"/>
                  </a:lnTo>
                  <a:lnTo>
                    <a:pt x="750" y="750"/>
                  </a:lnTo>
                  <a:lnTo>
                    <a:pt x="750" y="750"/>
                  </a:lnTo>
                  <a:lnTo>
                    <a:pt x="762" y="747"/>
                  </a:lnTo>
                  <a:lnTo>
                    <a:pt x="769" y="744"/>
                  </a:lnTo>
                  <a:lnTo>
                    <a:pt x="770" y="743"/>
                  </a:lnTo>
                  <a:lnTo>
                    <a:pt x="772" y="742"/>
                  </a:lnTo>
                  <a:lnTo>
                    <a:pt x="772" y="742"/>
                  </a:lnTo>
                  <a:lnTo>
                    <a:pt x="774" y="740"/>
                  </a:lnTo>
                  <a:lnTo>
                    <a:pt x="780" y="737"/>
                  </a:lnTo>
                  <a:lnTo>
                    <a:pt x="787" y="737"/>
                  </a:lnTo>
                  <a:lnTo>
                    <a:pt x="791" y="737"/>
                  </a:lnTo>
                  <a:lnTo>
                    <a:pt x="791" y="737"/>
                  </a:lnTo>
                  <a:lnTo>
                    <a:pt x="798" y="740"/>
                  </a:lnTo>
                  <a:lnTo>
                    <a:pt x="801" y="740"/>
                  </a:lnTo>
                  <a:lnTo>
                    <a:pt x="804" y="739"/>
                  </a:lnTo>
                  <a:lnTo>
                    <a:pt x="804" y="739"/>
                  </a:lnTo>
                  <a:lnTo>
                    <a:pt x="806" y="739"/>
                  </a:lnTo>
                  <a:lnTo>
                    <a:pt x="811" y="740"/>
                  </a:lnTo>
                  <a:lnTo>
                    <a:pt x="812" y="743"/>
                  </a:lnTo>
                  <a:lnTo>
                    <a:pt x="813" y="746"/>
                  </a:lnTo>
                  <a:lnTo>
                    <a:pt x="813" y="746"/>
                  </a:lnTo>
                  <a:lnTo>
                    <a:pt x="813" y="748"/>
                  </a:lnTo>
                  <a:lnTo>
                    <a:pt x="815" y="751"/>
                  </a:lnTo>
                  <a:lnTo>
                    <a:pt x="816" y="754"/>
                  </a:lnTo>
                  <a:lnTo>
                    <a:pt x="816" y="757"/>
                  </a:lnTo>
                  <a:lnTo>
                    <a:pt x="816" y="757"/>
                  </a:lnTo>
                  <a:lnTo>
                    <a:pt x="815" y="760"/>
                  </a:lnTo>
                  <a:lnTo>
                    <a:pt x="813" y="761"/>
                  </a:lnTo>
                  <a:lnTo>
                    <a:pt x="815" y="764"/>
                  </a:lnTo>
                  <a:lnTo>
                    <a:pt x="815" y="764"/>
                  </a:lnTo>
                  <a:lnTo>
                    <a:pt x="818" y="764"/>
                  </a:lnTo>
                  <a:lnTo>
                    <a:pt x="822" y="764"/>
                  </a:lnTo>
                  <a:lnTo>
                    <a:pt x="826" y="762"/>
                  </a:lnTo>
                  <a:lnTo>
                    <a:pt x="829" y="761"/>
                  </a:lnTo>
                  <a:lnTo>
                    <a:pt x="829" y="761"/>
                  </a:lnTo>
                  <a:lnTo>
                    <a:pt x="831" y="760"/>
                  </a:lnTo>
                  <a:lnTo>
                    <a:pt x="833" y="761"/>
                  </a:lnTo>
                  <a:lnTo>
                    <a:pt x="834" y="762"/>
                  </a:lnTo>
                  <a:lnTo>
                    <a:pt x="834" y="765"/>
                  </a:lnTo>
                  <a:lnTo>
                    <a:pt x="834" y="765"/>
                  </a:lnTo>
                  <a:lnTo>
                    <a:pt x="836" y="767"/>
                  </a:lnTo>
                  <a:lnTo>
                    <a:pt x="837" y="768"/>
                  </a:lnTo>
                  <a:lnTo>
                    <a:pt x="838" y="767"/>
                  </a:lnTo>
                  <a:lnTo>
                    <a:pt x="840" y="765"/>
                  </a:lnTo>
                  <a:lnTo>
                    <a:pt x="840" y="765"/>
                  </a:lnTo>
                  <a:lnTo>
                    <a:pt x="840" y="764"/>
                  </a:lnTo>
                  <a:lnTo>
                    <a:pt x="843" y="764"/>
                  </a:lnTo>
                  <a:lnTo>
                    <a:pt x="847" y="767"/>
                  </a:lnTo>
                  <a:lnTo>
                    <a:pt x="847" y="767"/>
                  </a:lnTo>
                  <a:lnTo>
                    <a:pt x="848" y="768"/>
                  </a:lnTo>
                  <a:lnTo>
                    <a:pt x="851" y="767"/>
                  </a:lnTo>
                  <a:lnTo>
                    <a:pt x="854" y="767"/>
                  </a:lnTo>
                  <a:lnTo>
                    <a:pt x="855" y="768"/>
                  </a:lnTo>
                  <a:lnTo>
                    <a:pt x="855" y="768"/>
                  </a:lnTo>
                  <a:lnTo>
                    <a:pt x="854" y="771"/>
                  </a:lnTo>
                  <a:lnTo>
                    <a:pt x="851" y="772"/>
                  </a:lnTo>
                  <a:lnTo>
                    <a:pt x="848" y="775"/>
                  </a:lnTo>
                  <a:lnTo>
                    <a:pt x="848" y="776"/>
                  </a:lnTo>
                  <a:lnTo>
                    <a:pt x="849" y="778"/>
                  </a:lnTo>
                  <a:lnTo>
                    <a:pt x="849" y="778"/>
                  </a:lnTo>
                  <a:lnTo>
                    <a:pt x="851" y="779"/>
                  </a:lnTo>
                  <a:lnTo>
                    <a:pt x="852" y="779"/>
                  </a:lnTo>
                  <a:lnTo>
                    <a:pt x="855" y="778"/>
                  </a:lnTo>
                  <a:lnTo>
                    <a:pt x="858" y="775"/>
                  </a:lnTo>
                  <a:lnTo>
                    <a:pt x="861" y="775"/>
                  </a:lnTo>
                  <a:lnTo>
                    <a:pt x="861" y="775"/>
                  </a:lnTo>
                  <a:lnTo>
                    <a:pt x="865" y="775"/>
                  </a:lnTo>
                  <a:lnTo>
                    <a:pt x="870" y="772"/>
                  </a:lnTo>
                  <a:lnTo>
                    <a:pt x="874" y="769"/>
                  </a:lnTo>
                  <a:lnTo>
                    <a:pt x="879" y="768"/>
                  </a:lnTo>
                  <a:lnTo>
                    <a:pt x="879" y="768"/>
                  </a:lnTo>
                  <a:lnTo>
                    <a:pt x="881" y="767"/>
                  </a:lnTo>
                  <a:lnTo>
                    <a:pt x="886" y="765"/>
                  </a:lnTo>
                  <a:lnTo>
                    <a:pt x="893" y="760"/>
                  </a:lnTo>
                  <a:lnTo>
                    <a:pt x="893" y="760"/>
                  </a:lnTo>
                  <a:lnTo>
                    <a:pt x="897" y="758"/>
                  </a:lnTo>
                  <a:lnTo>
                    <a:pt x="899" y="758"/>
                  </a:lnTo>
                  <a:lnTo>
                    <a:pt x="902" y="760"/>
                  </a:lnTo>
                  <a:lnTo>
                    <a:pt x="904" y="760"/>
                  </a:lnTo>
                  <a:lnTo>
                    <a:pt x="902" y="761"/>
                  </a:lnTo>
                  <a:lnTo>
                    <a:pt x="902" y="761"/>
                  </a:lnTo>
                  <a:lnTo>
                    <a:pt x="901" y="764"/>
                  </a:lnTo>
                  <a:lnTo>
                    <a:pt x="899" y="767"/>
                  </a:lnTo>
                  <a:lnTo>
                    <a:pt x="902" y="769"/>
                  </a:lnTo>
                  <a:lnTo>
                    <a:pt x="908" y="773"/>
                  </a:lnTo>
                  <a:lnTo>
                    <a:pt x="908" y="773"/>
                  </a:lnTo>
                  <a:lnTo>
                    <a:pt x="911" y="775"/>
                  </a:lnTo>
                  <a:lnTo>
                    <a:pt x="915" y="779"/>
                  </a:lnTo>
                  <a:lnTo>
                    <a:pt x="923" y="787"/>
                  </a:lnTo>
                  <a:lnTo>
                    <a:pt x="936" y="807"/>
                  </a:lnTo>
                  <a:lnTo>
                    <a:pt x="936" y="807"/>
                  </a:lnTo>
                  <a:lnTo>
                    <a:pt x="941" y="815"/>
                  </a:lnTo>
                  <a:lnTo>
                    <a:pt x="945" y="825"/>
                  </a:lnTo>
                  <a:lnTo>
                    <a:pt x="949" y="832"/>
                  </a:lnTo>
                  <a:lnTo>
                    <a:pt x="951" y="835"/>
                  </a:lnTo>
                  <a:lnTo>
                    <a:pt x="952" y="835"/>
                  </a:lnTo>
                  <a:lnTo>
                    <a:pt x="952" y="835"/>
                  </a:lnTo>
                  <a:lnTo>
                    <a:pt x="955" y="833"/>
                  </a:lnTo>
                  <a:lnTo>
                    <a:pt x="956" y="830"/>
                  </a:lnTo>
                  <a:lnTo>
                    <a:pt x="959" y="828"/>
                  </a:lnTo>
                  <a:lnTo>
                    <a:pt x="962" y="825"/>
                  </a:lnTo>
                  <a:lnTo>
                    <a:pt x="962" y="825"/>
                  </a:lnTo>
                  <a:lnTo>
                    <a:pt x="965" y="826"/>
                  </a:lnTo>
                  <a:lnTo>
                    <a:pt x="967" y="829"/>
                  </a:lnTo>
                  <a:lnTo>
                    <a:pt x="970" y="832"/>
                  </a:lnTo>
                  <a:lnTo>
                    <a:pt x="973" y="833"/>
                  </a:lnTo>
                  <a:lnTo>
                    <a:pt x="973" y="833"/>
                  </a:lnTo>
                  <a:lnTo>
                    <a:pt x="981" y="836"/>
                  </a:lnTo>
                  <a:lnTo>
                    <a:pt x="986" y="836"/>
                  </a:lnTo>
                  <a:lnTo>
                    <a:pt x="988" y="836"/>
                  </a:lnTo>
                  <a:lnTo>
                    <a:pt x="988" y="836"/>
                  </a:lnTo>
                  <a:lnTo>
                    <a:pt x="997" y="833"/>
                  </a:lnTo>
                  <a:lnTo>
                    <a:pt x="1001" y="832"/>
                  </a:lnTo>
                  <a:lnTo>
                    <a:pt x="1005" y="832"/>
                  </a:lnTo>
                  <a:lnTo>
                    <a:pt x="1005" y="832"/>
                  </a:lnTo>
                  <a:lnTo>
                    <a:pt x="1009" y="835"/>
                  </a:lnTo>
                  <a:lnTo>
                    <a:pt x="1012" y="836"/>
                  </a:lnTo>
                  <a:lnTo>
                    <a:pt x="1015" y="840"/>
                  </a:lnTo>
                  <a:lnTo>
                    <a:pt x="1015" y="840"/>
                  </a:lnTo>
                  <a:lnTo>
                    <a:pt x="1016" y="844"/>
                  </a:lnTo>
                  <a:lnTo>
                    <a:pt x="1019" y="847"/>
                  </a:lnTo>
                  <a:lnTo>
                    <a:pt x="1022" y="847"/>
                  </a:lnTo>
                  <a:lnTo>
                    <a:pt x="1024" y="848"/>
                  </a:lnTo>
                  <a:lnTo>
                    <a:pt x="1024" y="848"/>
                  </a:lnTo>
                  <a:lnTo>
                    <a:pt x="1026" y="848"/>
                  </a:lnTo>
                  <a:lnTo>
                    <a:pt x="1027" y="850"/>
                  </a:lnTo>
                  <a:lnTo>
                    <a:pt x="1027" y="854"/>
                  </a:lnTo>
                  <a:lnTo>
                    <a:pt x="1027" y="854"/>
                  </a:lnTo>
                  <a:lnTo>
                    <a:pt x="1029" y="855"/>
                  </a:lnTo>
                  <a:lnTo>
                    <a:pt x="1030" y="858"/>
                  </a:lnTo>
                  <a:lnTo>
                    <a:pt x="1033" y="860"/>
                  </a:lnTo>
                  <a:lnTo>
                    <a:pt x="1036" y="861"/>
                  </a:lnTo>
                  <a:lnTo>
                    <a:pt x="1036" y="861"/>
                  </a:lnTo>
                  <a:lnTo>
                    <a:pt x="1042" y="860"/>
                  </a:lnTo>
                  <a:lnTo>
                    <a:pt x="1048" y="858"/>
                  </a:lnTo>
                  <a:lnTo>
                    <a:pt x="1048" y="858"/>
                  </a:lnTo>
                  <a:lnTo>
                    <a:pt x="1051" y="857"/>
                  </a:lnTo>
                  <a:lnTo>
                    <a:pt x="1052" y="857"/>
                  </a:lnTo>
                  <a:lnTo>
                    <a:pt x="1054" y="858"/>
                  </a:lnTo>
                  <a:lnTo>
                    <a:pt x="1054" y="858"/>
                  </a:lnTo>
                  <a:lnTo>
                    <a:pt x="1056" y="864"/>
                  </a:lnTo>
                  <a:lnTo>
                    <a:pt x="1059" y="866"/>
                  </a:lnTo>
                  <a:lnTo>
                    <a:pt x="1060" y="866"/>
                  </a:lnTo>
                  <a:lnTo>
                    <a:pt x="1060" y="866"/>
                  </a:lnTo>
                  <a:lnTo>
                    <a:pt x="1066" y="868"/>
                  </a:lnTo>
                  <a:lnTo>
                    <a:pt x="1069" y="868"/>
                  </a:lnTo>
                  <a:lnTo>
                    <a:pt x="1070" y="866"/>
                  </a:lnTo>
                  <a:lnTo>
                    <a:pt x="1070" y="866"/>
                  </a:lnTo>
                  <a:lnTo>
                    <a:pt x="1072" y="865"/>
                  </a:lnTo>
                  <a:lnTo>
                    <a:pt x="1074" y="864"/>
                  </a:lnTo>
                  <a:lnTo>
                    <a:pt x="1080" y="862"/>
                  </a:lnTo>
                  <a:lnTo>
                    <a:pt x="1080" y="862"/>
                  </a:lnTo>
                  <a:lnTo>
                    <a:pt x="1088" y="861"/>
                  </a:lnTo>
                  <a:lnTo>
                    <a:pt x="1092" y="858"/>
                  </a:lnTo>
                  <a:lnTo>
                    <a:pt x="1095" y="857"/>
                  </a:lnTo>
                  <a:lnTo>
                    <a:pt x="1095" y="857"/>
                  </a:lnTo>
                  <a:lnTo>
                    <a:pt x="1097" y="854"/>
                  </a:lnTo>
                  <a:lnTo>
                    <a:pt x="1101" y="853"/>
                  </a:lnTo>
                  <a:lnTo>
                    <a:pt x="1104" y="851"/>
                  </a:lnTo>
                  <a:lnTo>
                    <a:pt x="1106" y="850"/>
                  </a:lnTo>
                  <a:lnTo>
                    <a:pt x="1106" y="850"/>
                  </a:lnTo>
                  <a:lnTo>
                    <a:pt x="1112" y="846"/>
                  </a:lnTo>
                  <a:lnTo>
                    <a:pt x="1115" y="844"/>
                  </a:lnTo>
                  <a:lnTo>
                    <a:pt x="1117" y="843"/>
                  </a:lnTo>
                  <a:lnTo>
                    <a:pt x="1117" y="843"/>
                  </a:lnTo>
                  <a:lnTo>
                    <a:pt x="1119" y="840"/>
                  </a:lnTo>
                  <a:lnTo>
                    <a:pt x="1123" y="840"/>
                  </a:lnTo>
                  <a:lnTo>
                    <a:pt x="1126" y="839"/>
                  </a:lnTo>
                  <a:lnTo>
                    <a:pt x="1127" y="837"/>
                  </a:lnTo>
                  <a:lnTo>
                    <a:pt x="1127" y="837"/>
                  </a:lnTo>
                  <a:lnTo>
                    <a:pt x="1129" y="836"/>
                  </a:lnTo>
                  <a:lnTo>
                    <a:pt x="1133" y="836"/>
                  </a:lnTo>
                  <a:lnTo>
                    <a:pt x="1138" y="836"/>
                  </a:lnTo>
                  <a:lnTo>
                    <a:pt x="1138" y="836"/>
                  </a:lnTo>
                  <a:lnTo>
                    <a:pt x="1149" y="839"/>
                  </a:lnTo>
                  <a:lnTo>
                    <a:pt x="1160" y="840"/>
                  </a:lnTo>
                  <a:lnTo>
                    <a:pt x="1160" y="840"/>
                  </a:lnTo>
                  <a:lnTo>
                    <a:pt x="1162" y="840"/>
                  </a:lnTo>
                  <a:lnTo>
                    <a:pt x="1163" y="843"/>
                  </a:lnTo>
                  <a:lnTo>
                    <a:pt x="1165" y="847"/>
                  </a:lnTo>
                  <a:lnTo>
                    <a:pt x="1166" y="848"/>
                  </a:lnTo>
                  <a:lnTo>
                    <a:pt x="1166" y="848"/>
                  </a:lnTo>
                  <a:lnTo>
                    <a:pt x="1172" y="851"/>
                  </a:lnTo>
                  <a:lnTo>
                    <a:pt x="1176" y="854"/>
                  </a:lnTo>
                  <a:lnTo>
                    <a:pt x="1178" y="854"/>
                  </a:lnTo>
                  <a:lnTo>
                    <a:pt x="1178" y="854"/>
                  </a:lnTo>
                  <a:lnTo>
                    <a:pt x="1184" y="851"/>
                  </a:lnTo>
                  <a:lnTo>
                    <a:pt x="1187" y="851"/>
                  </a:lnTo>
                  <a:lnTo>
                    <a:pt x="1191" y="853"/>
                  </a:lnTo>
                  <a:lnTo>
                    <a:pt x="1191" y="853"/>
                  </a:lnTo>
                  <a:lnTo>
                    <a:pt x="1198" y="857"/>
                  </a:lnTo>
                  <a:lnTo>
                    <a:pt x="1201" y="857"/>
                  </a:lnTo>
                  <a:lnTo>
                    <a:pt x="1202" y="855"/>
                  </a:lnTo>
                  <a:lnTo>
                    <a:pt x="1202" y="855"/>
                  </a:lnTo>
                  <a:lnTo>
                    <a:pt x="1205" y="854"/>
                  </a:lnTo>
                  <a:lnTo>
                    <a:pt x="1209" y="853"/>
                  </a:lnTo>
                  <a:lnTo>
                    <a:pt x="1213" y="851"/>
                  </a:lnTo>
                  <a:lnTo>
                    <a:pt x="1215" y="850"/>
                  </a:lnTo>
                  <a:lnTo>
                    <a:pt x="1215" y="850"/>
                  </a:lnTo>
                  <a:lnTo>
                    <a:pt x="1216" y="844"/>
                  </a:lnTo>
                  <a:lnTo>
                    <a:pt x="1216" y="841"/>
                  </a:lnTo>
                  <a:lnTo>
                    <a:pt x="1216" y="840"/>
                  </a:lnTo>
                  <a:lnTo>
                    <a:pt x="1216" y="840"/>
                  </a:lnTo>
                  <a:lnTo>
                    <a:pt x="1212" y="835"/>
                  </a:lnTo>
                  <a:lnTo>
                    <a:pt x="1210" y="828"/>
                  </a:lnTo>
                  <a:lnTo>
                    <a:pt x="1210" y="828"/>
                  </a:lnTo>
                  <a:lnTo>
                    <a:pt x="1210" y="825"/>
                  </a:lnTo>
                  <a:lnTo>
                    <a:pt x="1212" y="823"/>
                  </a:lnTo>
                  <a:lnTo>
                    <a:pt x="1215" y="821"/>
                  </a:lnTo>
                  <a:lnTo>
                    <a:pt x="1216" y="819"/>
                  </a:lnTo>
                  <a:lnTo>
                    <a:pt x="1216" y="819"/>
                  </a:lnTo>
                  <a:lnTo>
                    <a:pt x="1217" y="816"/>
                  </a:lnTo>
                  <a:lnTo>
                    <a:pt x="1220" y="816"/>
                  </a:lnTo>
                  <a:lnTo>
                    <a:pt x="1224" y="814"/>
                  </a:lnTo>
                  <a:lnTo>
                    <a:pt x="1224" y="814"/>
                  </a:lnTo>
                  <a:lnTo>
                    <a:pt x="1227" y="810"/>
                  </a:lnTo>
                  <a:lnTo>
                    <a:pt x="1228" y="808"/>
                  </a:lnTo>
                  <a:lnTo>
                    <a:pt x="1230" y="808"/>
                  </a:lnTo>
                  <a:lnTo>
                    <a:pt x="1230" y="808"/>
                  </a:lnTo>
                  <a:lnTo>
                    <a:pt x="1237" y="811"/>
                  </a:lnTo>
                  <a:lnTo>
                    <a:pt x="1242" y="814"/>
                  </a:lnTo>
                  <a:lnTo>
                    <a:pt x="1242" y="814"/>
                  </a:lnTo>
                  <a:lnTo>
                    <a:pt x="1247" y="815"/>
                  </a:lnTo>
                  <a:lnTo>
                    <a:pt x="1252" y="815"/>
                  </a:lnTo>
                  <a:lnTo>
                    <a:pt x="1252" y="815"/>
                  </a:lnTo>
                  <a:lnTo>
                    <a:pt x="1258" y="816"/>
                  </a:lnTo>
                  <a:lnTo>
                    <a:pt x="1263" y="821"/>
                  </a:lnTo>
                  <a:lnTo>
                    <a:pt x="1263" y="821"/>
                  </a:lnTo>
                  <a:lnTo>
                    <a:pt x="1272" y="822"/>
                  </a:lnTo>
                  <a:lnTo>
                    <a:pt x="1276" y="823"/>
                  </a:lnTo>
                  <a:lnTo>
                    <a:pt x="1278" y="825"/>
                  </a:lnTo>
                  <a:lnTo>
                    <a:pt x="1278" y="825"/>
                  </a:lnTo>
                  <a:lnTo>
                    <a:pt x="1278" y="828"/>
                  </a:lnTo>
                  <a:lnTo>
                    <a:pt x="1278" y="832"/>
                  </a:lnTo>
                  <a:lnTo>
                    <a:pt x="1278" y="835"/>
                  </a:lnTo>
                  <a:lnTo>
                    <a:pt x="1280" y="839"/>
                  </a:lnTo>
                  <a:lnTo>
                    <a:pt x="1280" y="839"/>
                  </a:lnTo>
                  <a:lnTo>
                    <a:pt x="1285" y="843"/>
                  </a:lnTo>
                  <a:lnTo>
                    <a:pt x="1288" y="846"/>
                  </a:lnTo>
                  <a:lnTo>
                    <a:pt x="1290" y="846"/>
                  </a:lnTo>
                  <a:lnTo>
                    <a:pt x="1290" y="846"/>
                  </a:lnTo>
                  <a:lnTo>
                    <a:pt x="1292" y="846"/>
                  </a:lnTo>
                  <a:lnTo>
                    <a:pt x="1297" y="847"/>
                  </a:lnTo>
                  <a:lnTo>
                    <a:pt x="1301" y="848"/>
                  </a:lnTo>
                  <a:lnTo>
                    <a:pt x="1303" y="850"/>
                  </a:lnTo>
                  <a:lnTo>
                    <a:pt x="1303" y="850"/>
                  </a:lnTo>
                  <a:lnTo>
                    <a:pt x="1309" y="847"/>
                  </a:lnTo>
                  <a:lnTo>
                    <a:pt x="1312" y="844"/>
                  </a:lnTo>
                  <a:lnTo>
                    <a:pt x="1315" y="844"/>
                  </a:lnTo>
                  <a:lnTo>
                    <a:pt x="1315" y="844"/>
                  </a:lnTo>
                  <a:lnTo>
                    <a:pt x="1321" y="843"/>
                  </a:lnTo>
                  <a:lnTo>
                    <a:pt x="1330" y="843"/>
                  </a:lnTo>
                  <a:lnTo>
                    <a:pt x="1330" y="843"/>
                  </a:lnTo>
                  <a:lnTo>
                    <a:pt x="1337" y="844"/>
                  </a:lnTo>
                  <a:lnTo>
                    <a:pt x="1341" y="846"/>
                  </a:lnTo>
                  <a:lnTo>
                    <a:pt x="1344" y="846"/>
                  </a:lnTo>
                  <a:lnTo>
                    <a:pt x="1344" y="846"/>
                  </a:lnTo>
                  <a:lnTo>
                    <a:pt x="1349" y="846"/>
                  </a:lnTo>
                  <a:lnTo>
                    <a:pt x="1353" y="847"/>
                  </a:lnTo>
                  <a:lnTo>
                    <a:pt x="1356" y="848"/>
                  </a:lnTo>
                  <a:lnTo>
                    <a:pt x="1356" y="848"/>
                  </a:lnTo>
                  <a:lnTo>
                    <a:pt x="1358" y="850"/>
                  </a:lnTo>
                  <a:lnTo>
                    <a:pt x="1363" y="851"/>
                  </a:lnTo>
                  <a:lnTo>
                    <a:pt x="1367" y="853"/>
                  </a:lnTo>
                  <a:lnTo>
                    <a:pt x="1369" y="854"/>
                  </a:lnTo>
                  <a:lnTo>
                    <a:pt x="1369" y="855"/>
                  </a:lnTo>
                  <a:lnTo>
                    <a:pt x="1369" y="855"/>
                  </a:lnTo>
                  <a:lnTo>
                    <a:pt x="1370" y="857"/>
                  </a:lnTo>
                  <a:lnTo>
                    <a:pt x="1371" y="860"/>
                  </a:lnTo>
                  <a:lnTo>
                    <a:pt x="1374" y="861"/>
                  </a:lnTo>
                  <a:lnTo>
                    <a:pt x="1377" y="864"/>
                  </a:lnTo>
                  <a:lnTo>
                    <a:pt x="1377" y="864"/>
                  </a:lnTo>
                  <a:lnTo>
                    <a:pt x="1378" y="865"/>
                  </a:lnTo>
                  <a:lnTo>
                    <a:pt x="1380" y="865"/>
                  </a:lnTo>
                  <a:lnTo>
                    <a:pt x="1387" y="866"/>
                  </a:lnTo>
                  <a:lnTo>
                    <a:pt x="1392" y="866"/>
                  </a:lnTo>
                  <a:lnTo>
                    <a:pt x="1396" y="868"/>
                  </a:lnTo>
                  <a:lnTo>
                    <a:pt x="1396" y="868"/>
                  </a:lnTo>
                  <a:lnTo>
                    <a:pt x="1401" y="868"/>
                  </a:lnTo>
                  <a:lnTo>
                    <a:pt x="1408" y="869"/>
                  </a:lnTo>
                  <a:lnTo>
                    <a:pt x="1415" y="868"/>
                  </a:lnTo>
                  <a:lnTo>
                    <a:pt x="1417" y="868"/>
                  </a:lnTo>
                  <a:lnTo>
                    <a:pt x="1417" y="868"/>
                  </a:lnTo>
                  <a:lnTo>
                    <a:pt x="1420" y="866"/>
                  </a:lnTo>
                  <a:lnTo>
                    <a:pt x="1427" y="865"/>
                  </a:lnTo>
                  <a:lnTo>
                    <a:pt x="1434" y="864"/>
                  </a:lnTo>
                  <a:lnTo>
                    <a:pt x="1438" y="862"/>
                  </a:lnTo>
                  <a:lnTo>
                    <a:pt x="1438" y="862"/>
                  </a:lnTo>
                  <a:lnTo>
                    <a:pt x="1441" y="861"/>
                  </a:lnTo>
                  <a:lnTo>
                    <a:pt x="1445" y="860"/>
                  </a:lnTo>
                  <a:lnTo>
                    <a:pt x="1449" y="860"/>
                  </a:lnTo>
                  <a:lnTo>
                    <a:pt x="1451" y="858"/>
                  </a:lnTo>
                  <a:lnTo>
                    <a:pt x="1451" y="858"/>
                  </a:lnTo>
                  <a:lnTo>
                    <a:pt x="1452" y="855"/>
                  </a:lnTo>
                  <a:lnTo>
                    <a:pt x="1456" y="853"/>
                  </a:lnTo>
                  <a:lnTo>
                    <a:pt x="1463" y="850"/>
                  </a:lnTo>
                  <a:lnTo>
                    <a:pt x="1463" y="850"/>
                  </a:lnTo>
                  <a:lnTo>
                    <a:pt x="1467" y="847"/>
                  </a:lnTo>
                  <a:lnTo>
                    <a:pt x="1474" y="847"/>
                  </a:lnTo>
                  <a:lnTo>
                    <a:pt x="1480" y="848"/>
                  </a:lnTo>
                  <a:lnTo>
                    <a:pt x="1483" y="850"/>
                  </a:lnTo>
                  <a:lnTo>
                    <a:pt x="1483" y="850"/>
                  </a:lnTo>
                  <a:lnTo>
                    <a:pt x="1484" y="853"/>
                  </a:lnTo>
                  <a:lnTo>
                    <a:pt x="1488" y="853"/>
                  </a:lnTo>
                  <a:lnTo>
                    <a:pt x="1492" y="854"/>
                  </a:lnTo>
                  <a:lnTo>
                    <a:pt x="1496" y="853"/>
                  </a:lnTo>
                  <a:lnTo>
                    <a:pt x="1496" y="853"/>
                  </a:lnTo>
                  <a:lnTo>
                    <a:pt x="1499" y="853"/>
                  </a:lnTo>
                  <a:lnTo>
                    <a:pt x="1505" y="853"/>
                  </a:lnTo>
                  <a:lnTo>
                    <a:pt x="1509" y="854"/>
                  </a:lnTo>
                  <a:lnTo>
                    <a:pt x="1510" y="857"/>
                  </a:lnTo>
                  <a:lnTo>
                    <a:pt x="1510" y="857"/>
                  </a:lnTo>
                  <a:lnTo>
                    <a:pt x="1513" y="858"/>
                  </a:lnTo>
                  <a:lnTo>
                    <a:pt x="1517" y="861"/>
                  </a:lnTo>
                  <a:lnTo>
                    <a:pt x="1526" y="861"/>
                  </a:lnTo>
                  <a:lnTo>
                    <a:pt x="1526" y="861"/>
                  </a:lnTo>
                  <a:lnTo>
                    <a:pt x="1533" y="857"/>
                  </a:lnTo>
                  <a:lnTo>
                    <a:pt x="1541" y="853"/>
                  </a:lnTo>
                  <a:lnTo>
                    <a:pt x="1541" y="853"/>
                  </a:lnTo>
                  <a:lnTo>
                    <a:pt x="1546" y="850"/>
                  </a:lnTo>
                  <a:lnTo>
                    <a:pt x="1548" y="848"/>
                  </a:lnTo>
                  <a:lnTo>
                    <a:pt x="1548" y="846"/>
                  </a:lnTo>
                  <a:lnTo>
                    <a:pt x="1548" y="846"/>
                  </a:lnTo>
                  <a:lnTo>
                    <a:pt x="1548" y="843"/>
                  </a:lnTo>
                  <a:lnTo>
                    <a:pt x="1551" y="839"/>
                  </a:lnTo>
                  <a:lnTo>
                    <a:pt x="1555" y="830"/>
                  </a:lnTo>
                  <a:lnTo>
                    <a:pt x="1555" y="830"/>
                  </a:lnTo>
                  <a:lnTo>
                    <a:pt x="1559" y="821"/>
                  </a:lnTo>
                  <a:lnTo>
                    <a:pt x="1563" y="816"/>
                  </a:lnTo>
                  <a:lnTo>
                    <a:pt x="1564" y="815"/>
                  </a:lnTo>
                  <a:lnTo>
                    <a:pt x="1564" y="815"/>
                  </a:lnTo>
                  <a:lnTo>
                    <a:pt x="1569" y="812"/>
                  </a:lnTo>
                  <a:lnTo>
                    <a:pt x="1571" y="810"/>
                  </a:lnTo>
                  <a:lnTo>
                    <a:pt x="1571" y="807"/>
                  </a:lnTo>
                  <a:lnTo>
                    <a:pt x="1571" y="807"/>
                  </a:lnTo>
                  <a:lnTo>
                    <a:pt x="1570" y="800"/>
                  </a:lnTo>
                  <a:lnTo>
                    <a:pt x="1569" y="797"/>
                  </a:lnTo>
                  <a:lnTo>
                    <a:pt x="1567" y="796"/>
                  </a:lnTo>
                  <a:lnTo>
                    <a:pt x="1567" y="796"/>
                  </a:lnTo>
                  <a:lnTo>
                    <a:pt x="1564" y="796"/>
                  </a:lnTo>
                  <a:lnTo>
                    <a:pt x="1563" y="796"/>
                  </a:lnTo>
                  <a:lnTo>
                    <a:pt x="1563" y="793"/>
                  </a:lnTo>
                  <a:lnTo>
                    <a:pt x="1566" y="787"/>
                  </a:lnTo>
                  <a:lnTo>
                    <a:pt x="1566" y="787"/>
                  </a:lnTo>
                  <a:lnTo>
                    <a:pt x="1569" y="785"/>
                  </a:lnTo>
                  <a:lnTo>
                    <a:pt x="1571" y="783"/>
                  </a:lnTo>
                  <a:lnTo>
                    <a:pt x="1577" y="782"/>
                  </a:lnTo>
                  <a:lnTo>
                    <a:pt x="1585" y="782"/>
                  </a:lnTo>
                  <a:lnTo>
                    <a:pt x="1585" y="782"/>
                  </a:lnTo>
                  <a:lnTo>
                    <a:pt x="1595" y="779"/>
                  </a:lnTo>
                  <a:lnTo>
                    <a:pt x="1602" y="779"/>
                  </a:lnTo>
                  <a:lnTo>
                    <a:pt x="1609" y="779"/>
                  </a:lnTo>
                  <a:lnTo>
                    <a:pt x="1609" y="779"/>
                  </a:lnTo>
                  <a:lnTo>
                    <a:pt x="1613" y="780"/>
                  </a:lnTo>
                  <a:lnTo>
                    <a:pt x="1617" y="780"/>
                  </a:lnTo>
                  <a:lnTo>
                    <a:pt x="1621" y="780"/>
                  </a:lnTo>
                  <a:lnTo>
                    <a:pt x="1627" y="782"/>
                  </a:lnTo>
                  <a:lnTo>
                    <a:pt x="1627" y="782"/>
                  </a:lnTo>
                  <a:lnTo>
                    <a:pt x="1632" y="785"/>
                  </a:lnTo>
                  <a:lnTo>
                    <a:pt x="1638" y="785"/>
                  </a:lnTo>
                  <a:lnTo>
                    <a:pt x="1642" y="786"/>
                  </a:lnTo>
                  <a:lnTo>
                    <a:pt x="1645" y="787"/>
                  </a:lnTo>
                  <a:lnTo>
                    <a:pt x="1645" y="787"/>
                  </a:lnTo>
                  <a:lnTo>
                    <a:pt x="1648" y="790"/>
                  </a:lnTo>
                  <a:lnTo>
                    <a:pt x="1652" y="793"/>
                  </a:lnTo>
                  <a:lnTo>
                    <a:pt x="1655" y="796"/>
                  </a:lnTo>
                  <a:lnTo>
                    <a:pt x="1656" y="797"/>
                  </a:lnTo>
                  <a:lnTo>
                    <a:pt x="1656" y="800"/>
                  </a:lnTo>
                  <a:lnTo>
                    <a:pt x="1656" y="800"/>
                  </a:lnTo>
                  <a:lnTo>
                    <a:pt x="1656" y="803"/>
                  </a:lnTo>
                  <a:lnTo>
                    <a:pt x="1657" y="804"/>
                  </a:lnTo>
                  <a:lnTo>
                    <a:pt x="1660" y="807"/>
                  </a:lnTo>
                  <a:lnTo>
                    <a:pt x="1663" y="814"/>
                  </a:lnTo>
                  <a:lnTo>
                    <a:pt x="1663" y="814"/>
                  </a:lnTo>
                  <a:lnTo>
                    <a:pt x="1664" y="821"/>
                  </a:lnTo>
                  <a:lnTo>
                    <a:pt x="1667" y="825"/>
                  </a:lnTo>
                  <a:lnTo>
                    <a:pt x="1670" y="829"/>
                  </a:lnTo>
                  <a:lnTo>
                    <a:pt x="1673" y="832"/>
                  </a:lnTo>
                  <a:lnTo>
                    <a:pt x="1673" y="832"/>
                  </a:lnTo>
                  <a:lnTo>
                    <a:pt x="1677" y="843"/>
                  </a:lnTo>
                  <a:lnTo>
                    <a:pt x="1680" y="847"/>
                  </a:lnTo>
                  <a:lnTo>
                    <a:pt x="1680" y="851"/>
                  </a:lnTo>
                  <a:lnTo>
                    <a:pt x="1680" y="851"/>
                  </a:lnTo>
                  <a:lnTo>
                    <a:pt x="1680" y="854"/>
                  </a:lnTo>
                  <a:lnTo>
                    <a:pt x="1680" y="857"/>
                  </a:lnTo>
                  <a:lnTo>
                    <a:pt x="1681" y="858"/>
                  </a:lnTo>
                  <a:lnTo>
                    <a:pt x="1687" y="860"/>
                  </a:lnTo>
                  <a:lnTo>
                    <a:pt x="1687" y="860"/>
                  </a:lnTo>
                  <a:lnTo>
                    <a:pt x="1691" y="861"/>
                  </a:lnTo>
                  <a:lnTo>
                    <a:pt x="1696" y="864"/>
                  </a:lnTo>
                  <a:lnTo>
                    <a:pt x="1699" y="865"/>
                  </a:lnTo>
                  <a:lnTo>
                    <a:pt x="1702" y="865"/>
                  </a:lnTo>
                  <a:lnTo>
                    <a:pt x="1702" y="865"/>
                  </a:lnTo>
                  <a:lnTo>
                    <a:pt x="1703" y="865"/>
                  </a:lnTo>
                  <a:lnTo>
                    <a:pt x="1707" y="866"/>
                  </a:lnTo>
                  <a:lnTo>
                    <a:pt x="1713" y="869"/>
                  </a:lnTo>
                  <a:lnTo>
                    <a:pt x="1717" y="872"/>
                  </a:lnTo>
                  <a:lnTo>
                    <a:pt x="1717" y="872"/>
                  </a:lnTo>
                  <a:lnTo>
                    <a:pt x="1721" y="875"/>
                  </a:lnTo>
                  <a:lnTo>
                    <a:pt x="1724" y="876"/>
                  </a:lnTo>
                  <a:lnTo>
                    <a:pt x="1727" y="878"/>
                  </a:lnTo>
                  <a:lnTo>
                    <a:pt x="1728" y="880"/>
                  </a:lnTo>
                  <a:lnTo>
                    <a:pt x="1728" y="880"/>
                  </a:lnTo>
                  <a:lnTo>
                    <a:pt x="1728" y="883"/>
                  </a:lnTo>
                  <a:lnTo>
                    <a:pt x="1730" y="887"/>
                  </a:lnTo>
                  <a:lnTo>
                    <a:pt x="1731" y="890"/>
                  </a:lnTo>
                  <a:lnTo>
                    <a:pt x="1731" y="893"/>
                  </a:lnTo>
                  <a:lnTo>
                    <a:pt x="1731" y="893"/>
                  </a:lnTo>
                  <a:lnTo>
                    <a:pt x="1732" y="896"/>
                  </a:lnTo>
                  <a:lnTo>
                    <a:pt x="1737" y="898"/>
                  </a:lnTo>
                  <a:lnTo>
                    <a:pt x="1741" y="900"/>
                  </a:lnTo>
                  <a:lnTo>
                    <a:pt x="1746" y="900"/>
                  </a:lnTo>
                  <a:lnTo>
                    <a:pt x="1746" y="900"/>
                  </a:lnTo>
                  <a:lnTo>
                    <a:pt x="1755" y="900"/>
                  </a:lnTo>
                  <a:lnTo>
                    <a:pt x="1757" y="898"/>
                  </a:lnTo>
                  <a:lnTo>
                    <a:pt x="1760" y="896"/>
                  </a:lnTo>
                  <a:lnTo>
                    <a:pt x="1760" y="896"/>
                  </a:lnTo>
                  <a:lnTo>
                    <a:pt x="1763" y="893"/>
                  </a:lnTo>
                  <a:lnTo>
                    <a:pt x="1769" y="891"/>
                  </a:lnTo>
                  <a:lnTo>
                    <a:pt x="1773" y="891"/>
                  </a:lnTo>
                  <a:lnTo>
                    <a:pt x="1775" y="890"/>
                  </a:lnTo>
                  <a:lnTo>
                    <a:pt x="1775" y="890"/>
                  </a:lnTo>
                  <a:lnTo>
                    <a:pt x="1780" y="889"/>
                  </a:lnTo>
                  <a:lnTo>
                    <a:pt x="1784" y="889"/>
                  </a:lnTo>
                  <a:lnTo>
                    <a:pt x="1787" y="889"/>
                  </a:lnTo>
                  <a:lnTo>
                    <a:pt x="1788" y="891"/>
                  </a:lnTo>
                  <a:lnTo>
                    <a:pt x="1788" y="894"/>
                  </a:lnTo>
                  <a:lnTo>
                    <a:pt x="1788" y="894"/>
                  </a:lnTo>
                  <a:lnTo>
                    <a:pt x="1789" y="898"/>
                  </a:lnTo>
                  <a:lnTo>
                    <a:pt x="1791" y="903"/>
                  </a:lnTo>
                  <a:lnTo>
                    <a:pt x="1791" y="904"/>
                  </a:lnTo>
                  <a:lnTo>
                    <a:pt x="1789" y="907"/>
                  </a:lnTo>
                  <a:lnTo>
                    <a:pt x="1789" y="907"/>
                  </a:lnTo>
                  <a:lnTo>
                    <a:pt x="1785" y="910"/>
                  </a:lnTo>
                  <a:lnTo>
                    <a:pt x="1784" y="915"/>
                  </a:lnTo>
                  <a:lnTo>
                    <a:pt x="1781" y="926"/>
                  </a:lnTo>
                  <a:lnTo>
                    <a:pt x="1781" y="926"/>
                  </a:lnTo>
                  <a:lnTo>
                    <a:pt x="1778" y="930"/>
                  </a:lnTo>
                  <a:lnTo>
                    <a:pt x="1775" y="932"/>
                  </a:lnTo>
                  <a:lnTo>
                    <a:pt x="1773" y="934"/>
                  </a:lnTo>
                  <a:lnTo>
                    <a:pt x="1771" y="939"/>
                  </a:lnTo>
                  <a:lnTo>
                    <a:pt x="1771" y="939"/>
                  </a:lnTo>
                  <a:lnTo>
                    <a:pt x="1770" y="941"/>
                  </a:lnTo>
                  <a:lnTo>
                    <a:pt x="1767" y="944"/>
                  </a:lnTo>
                  <a:lnTo>
                    <a:pt x="1764" y="946"/>
                  </a:lnTo>
                  <a:lnTo>
                    <a:pt x="1764" y="948"/>
                  </a:lnTo>
                  <a:lnTo>
                    <a:pt x="1764" y="948"/>
                  </a:lnTo>
                  <a:lnTo>
                    <a:pt x="1763" y="950"/>
                  </a:lnTo>
                  <a:lnTo>
                    <a:pt x="1762" y="951"/>
                  </a:lnTo>
                  <a:lnTo>
                    <a:pt x="1759" y="951"/>
                  </a:lnTo>
                  <a:lnTo>
                    <a:pt x="1755" y="951"/>
                  </a:lnTo>
                  <a:lnTo>
                    <a:pt x="1750" y="948"/>
                  </a:lnTo>
                  <a:lnTo>
                    <a:pt x="1750" y="948"/>
                  </a:lnTo>
                  <a:lnTo>
                    <a:pt x="1748" y="948"/>
                  </a:lnTo>
                  <a:lnTo>
                    <a:pt x="1746" y="948"/>
                  </a:lnTo>
                  <a:lnTo>
                    <a:pt x="1744" y="951"/>
                  </a:lnTo>
                  <a:lnTo>
                    <a:pt x="1739" y="954"/>
                  </a:lnTo>
                  <a:lnTo>
                    <a:pt x="1737" y="955"/>
                  </a:lnTo>
                  <a:lnTo>
                    <a:pt x="1737" y="955"/>
                  </a:lnTo>
                  <a:lnTo>
                    <a:pt x="1735" y="955"/>
                  </a:lnTo>
                  <a:lnTo>
                    <a:pt x="1734" y="959"/>
                  </a:lnTo>
                  <a:lnTo>
                    <a:pt x="1735" y="966"/>
                  </a:lnTo>
                  <a:lnTo>
                    <a:pt x="1735" y="966"/>
                  </a:lnTo>
                  <a:lnTo>
                    <a:pt x="1735" y="972"/>
                  </a:lnTo>
                  <a:lnTo>
                    <a:pt x="1735" y="975"/>
                  </a:lnTo>
                  <a:lnTo>
                    <a:pt x="1735" y="979"/>
                  </a:lnTo>
                  <a:lnTo>
                    <a:pt x="1735" y="979"/>
                  </a:lnTo>
                  <a:lnTo>
                    <a:pt x="1737" y="984"/>
                  </a:lnTo>
                  <a:lnTo>
                    <a:pt x="1737" y="994"/>
                  </a:lnTo>
                  <a:lnTo>
                    <a:pt x="1737" y="994"/>
                  </a:lnTo>
                  <a:lnTo>
                    <a:pt x="1745" y="989"/>
                  </a:lnTo>
                  <a:lnTo>
                    <a:pt x="1749" y="987"/>
                  </a:lnTo>
                  <a:lnTo>
                    <a:pt x="1749" y="987"/>
                  </a:lnTo>
                  <a:lnTo>
                    <a:pt x="1755" y="989"/>
                  </a:lnTo>
                  <a:lnTo>
                    <a:pt x="1759" y="991"/>
                  </a:lnTo>
                  <a:lnTo>
                    <a:pt x="1763" y="996"/>
                  </a:lnTo>
                  <a:lnTo>
                    <a:pt x="1767" y="997"/>
                  </a:lnTo>
                  <a:lnTo>
                    <a:pt x="1767" y="997"/>
                  </a:lnTo>
                  <a:lnTo>
                    <a:pt x="1771" y="996"/>
                  </a:lnTo>
                  <a:lnTo>
                    <a:pt x="1775" y="994"/>
                  </a:lnTo>
                  <a:lnTo>
                    <a:pt x="1788" y="987"/>
                  </a:lnTo>
                  <a:lnTo>
                    <a:pt x="1799" y="979"/>
                  </a:lnTo>
                  <a:lnTo>
                    <a:pt x="1803" y="975"/>
                  </a:lnTo>
                  <a:lnTo>
                    <a:pt x="1803" y="975"/>
                  </a:lnTo>
                  <a:lnTo>
                    <a:pt x="1806" y="969"/>
                  </a:lnTo>
                  <a:lnTo>
                    <a:pt x="1813" y="962"/>
                  </a:lnTo>
                  <a:lnTo>
                    <a:pt x="1830" y="946"/>
                  </a:lnTo>
                  <a:lnTo>
                    <a:pt x="1830" y="946"/>
                  </a:lnTo>
                  <a:lnTo>
                    <a:pt x="1842" y="930"/>
                  </a:lnTo>
                  <a:lnTo>
                    <a:pt x="1848" y="923"/>
                  </a:lnTo>
                  <a:lnTo>
                    <a:pt x="1852" y="915"/>
                  </a:lnTo>
                  <a:lnTo>
                    <a:pt x="1852" y="915"/>
                  </a:lnTo>
                  <a:lnTo>
                    <a:pt x="1856" y="910"/>
                  </a:lnTo>
                  <a:lnTo>
                    <a:pt x="1860" y="904"/>
                  </a:lnTo>
                  <a:lnTo>
                    <a:pt x="1868" y="893"/>
                  </a:lnTo>
                  <a:lnTo>
                    <a:pt x="1868" y="893"/>
                  </a:lnTo>
                  <a:lnTo>
                    <a:pt x="1873" y="887"/>
                  </a:lnTo>
                  <a:lnTo>
                    <a:pt x="1878" y="878"/>
                  </a:lnTo>
                  <a:lnTo>
                    <a:pt x="1878" y="878"/>
                  </a:lnTo>
                  <a:lnTo>
                    <a:pt x="1881" y="866"/>
                  </a:lnTo>
                  <a:lnTo>
                    <a:pt x="1884" y="853"/>
                  </a:lnTo>
                  <a:lnTo>
                    <a:pt x="1884" y="841"/>
                  </a:lnTo>
                  <a:lnTo>
                    <a:pt x="1885" y="836"/>
                  </a:lnTo>
                  <a:lnTo>
                    <a:pt x="1885" y="836"/>
                  </a:lnTo>
                  <a:lnTo>
                    <a:pt x="1887" y="832"/>
                  </a:lnTo>
                  <a:lnTo>
                    <a:pt x="1887" y="829"/>
                  </a:lnTo>
                  <a:lnTo>
                    <a:pt x="1888" y="826"/>
                  </a:lnTo>
                  <a:lnTo>
                    <a:pt x="1888" y="826"/>
                  </a:lnTo>
                  <a:lnTo>
                    <a:pt x="1891" y="821"/>
                  </a:lnTo>
                  <a:lnTo>
                    <a:pt x="1892" y="818"/>
                  </a:lnTo>
                  <a:lnTo>
                    <a:pt x="1893" y="815"/>
                  </a:lnTo>
                  <a:lnTo>
                    <a:pt x="1893" y="815"/>
                  </a:lnTo>
                  <a:lnTo>
                    <a:pt x="1896" y="812"/>
                  </a:lnTo>
                  <a:lnTo>
                    <a:pt x="1898" y="810"/>
                  </a:lnTo>
                  <a:lnTo>
                    <a:pt x="1896" y="804"/>
                  </a:lnTo>
                  <a:lnTo>
                    <a:pt x="1896" y="804"/>
                  </a:lnTo>
                  <a:lnTo>
                    <a:pt x="1896" y="798"/>
                  </a:lnTo>
                  <a:lnTo>
                    <a:pt x="1896" y="793"/>
                  </a:lnTo>
                  <a:lnTo>
                    <a:pt x="1896" y="793"/>
                  </a:lnTo>
                  <a:lnTo>
                    <a:pt x="1895" y="790"/>
                  </a:lnTo>
                  <a:lnTo>
                    <a:pt x="1898" y="789"/>
                  </a:lnTo>
                  <a:lnTo>
                    <a:pt x="1898" y="789"/>
                  </a:lnTo>
                  <a:lnTo>
                    <a:pt x="1898" y="786"/>
                  </a:lnTo>
                  <a:lnTo>
                    <a:pt x="1898" y="785"/>
                  </a:lnTo>
                  <a:lnTo>
                    <a:pt x="1892" y="780"/>
                  </a:lnTo>
                  <a:lnTo>
                    <a:pt x="1892" y="780"/>
                  </a:lnTo>
                  <a:lnTo>
                    <a:pt x="1885" y="778"/>
                  </a:lnTo>
                  <a:lnTo>
                    <a:pt x="1884" y="775"/>
                  </a:lnTo>
                  <a:lnTo>
                    <a:pt x="1882" y="772"/>
                  </a:lnTo>
                  <a:lnTo>
                    <a:pt x="1882" y="772"/>
                  </a:lnTo>
                  <a:lnTo>
                    <a:pt x="1881" y="769"/>
                  </a:lnTo>
                  <a:lnTo>
                    <a:pt x="1878" y="767"/>
                  </a:lnTo>
                  <a:lnTo>
                    <a:pt x="1874" y="764"/>
                  </a:lnTo>
                  <a:lnTo>
                    <a:pt x="1870" y="764"/>
                  </a:lnTo>
                  <a:lnTo>
                    <a:pt x="1870" y="764"/>
                  </a:lnTo>
                  <a:lnTo>
                    <a:pt x="1862" y="762"/>
                  </a:lnTo>
                  <a:lnTo>
                    <a:pt x="1857" y="762"/>
                  </a:lnTo>
                  <a:lnTo>
                    <a:pt x="1856" y="762"/>
                  </a:lnTo>
                  <a:lnTo>
                    <a:pt x="1856" y="764"/>
                  </a:lnTo>
                  <a:lnTo>
                    <a:pt x="1856" y="764"/>
                  </a:lnTo>
                  <a:lnTo>
                    <a:pt x="1857" y="767"/>
                  </a:lnTo>
                  <a:lnTo>
                    <a:pt x="1856" y="768"/>
                  </a:lnTo>
                  <a:lnTo>
                    <a:pt x="1855" y="769"/>
                  </a:lnTo>
                  <a:lnTo>
                    <a:pt x="1853" y="769"/>
                  </a:lnTo>
                  <a:lnTo>
                    <a:pt x="1853" y="769"/>
                  </a:lnTo>
                  <a:lnTo>
                    <a:pt x="1852" y="769"/>
                  </a:lnTo>
                  <a:lnTo>
                    <a:pt x="1850" y="771"/>
                  </a:lnTo>
                  <a:lnTo>
                    <a:pt x="1846" y="775"/>
                  </a:lnTo>
                  <a:lnTo>
                    <a:pt x="1846" y="775"/>
                  </a:lnTo>
                  <a:lnTo>
                    <a:pt x="1844" y="778"/>
                  </a:lnTo>
                  <a:lnTo>
                    <a:pt x="1839" y="779"/>
                  </a:lnTo>
                  <a:lnTo>
                    <a:pt x="1837" y="778"/>
                  </a:lnTo>
                  <a:lnTo>
                    <a:pt x="1837" y="778"/>
                  </a:lnTo>
                  <a:lnTo>
                    <a:pt x="1838" y="776"/>
                  </a:lnTo>
                  <a:lnTo>
                    <a:pt x="1838" y="776"/>
                  </a:lnTo>
                  <a:lnTo>
                    <a:pt x="1839" y="773"/>
                  </a:lnTo>
                  <a:lnTo>
                    <a:pt x="1839" y="771"/>
                  </a:lnTo>
                  <a:lnTo>
                    <a:pt x="1838" y="769"/>
                  </a:lnTo>
                  <a:lnTo>
                    <a:pt x="1838" y="767"/>
                  </a:lnTo>
                  <a:lnTo>
                    <a:pt x="1838" y="767"/>
                  </a:lnTo>
                  <a:lnTo>
                    <a:pt x="1839" y="761"/>
                  </a:lnTo>
                  <a:lnTo>
                    <a:pt x="1839" y="760"/>
                  </a:lnTo>
                  <a:lnTo>
                    <a:pt x="1837" y="761"/>
                  </a:lnTo>
                  <a:lnTo>
                    <a:pt x="1837" y="761"/>
                  </a:lnTo>
                  <a:lnTo>
                    <a:pt x="1834" y="764"/>
                  </a:lnTo>
                  <a:lnTo>
                    <a:pt x="1831" y="767"/>
                  </a:lnTo>
                  <a:lnTo>
                    <a:pt x="1830" y="769"/>
                  </a:lnTo>
                  <a:lnTo>
                    <a:pt x="1827" y="772"/>
                  </a:lnTo>
                  <a:lnTo>
                    <a:pt x="1827" y="772"/>
                  </a:lnTo>
                  <a:lnTo>
                    <a:pt x="1825" y="771"/>
                  </a:lnTo>
                  <a:lnTo>
                    <a:pt x="1825" y="769"/>
                  </a:lnTo>
                  <a:lnTo>
                    <a:pt x="1824" y="765"/>
                  </a:lnTo>
                  <a:lnTo>
                    <a:pt x="1825" y="755"/>
                  </a:lnTo>
                  <a:lnTo>
                    <a:pt x="1825" y="755"/>
                  </a:lnTo>
                  <a:lnTo>
                    <a:pt x="1825" y="754"/>
                  </a:lnTo>
                  <a:lnTo>
                    <a:pt x="1824" y="754"/>
                  </a:lnTo>
                  <a:lnTo>
                    <a:pt x="1820" y="754"/>
                  </a:lnTo>
                  <a:lnTo>
                    <a:pt x="1814" y="755"/>
                  </a:lnTo>
                  <a:lnTo>
                    <a:pt x="1807" y="755"/>
                  </a:lnTo>
                  <a:lnTo>
                    <a:pt x="1807" y="755"/>
                  </a:lnTo>
                  <a:lnTo>
                    <a:pt x="1802" y="754"/>
                  </a:lnTo>
                  <a:lnTo>
                    <a:pt x="1802" y="753"/>
                  </a:lnTo>
                  <a:lnTo>
                    <a:pt x="1802" y="750"/>
                  </a:lnTo>
                  <a:lnTo>
                    <a:pt x="1803" y="747"/>
                  </a:lnTo>
                  <a:lnTo>
                    <a:pt x="1809" y="743"/>
                  </a:lnTo>
                  <a:lnTo>
                    <a:pt x="1809" y="743"/>
                  </a:lnTo>
                  <a:lnTo>
                    <a:pt x="1813" y="740"/>
                  </a:lnTo>
                  <a:lnTo>
                    <a:pt x="1814" y="737"/>
                  </a:lnTo>
                  <a:lnTo>
                    <a:pt x="1816" y="736"/>
                  </a:lnTo>
                  <a:lnTo>
                    <a:pt x="1819" y="733"/>
                  </a:lnTo>
                  <a:lnTo>
                    <a:pt x="1819" y="733"/>
                  </a:lnTo>
                  <a:lnTo>
                    <a:pt x="1828" y="729"/>
                  </a:lnTo>
                  <a:lnTo>
                    <a:pt x="1839" y="722"/>
                  </a:lnTo>
                  <a:lnTo>
                    <a:pt x="1839" y="722"/>
                  </a:lnTo>
                  <a:lnTo>
                    <a:pt x="1842" y="719"/>
                  </a:lnTo>
                  <a:lnTo>
                    <a:pt x="1845" y="717"/>
                  </a:lnTo>
                  <a:lnTo>
                    <a:pt x="1848" y="711"/>
                  </a:lnTo>
                  <a:lnTo>
                    <a:pt x="1848" y="711"/>
                  </a:lnTo>
                  <a:lnTo>
                    <a:pt x="1850" y="707"/>
                  </a:lnTo>
                  <a:lnTo>
                    <a:pt x="1855" y="704"/>
                  </a:lnTo>
                  <a:lnTo>
                    <a:pt x="1870" y="694"/>
                  </a:lnTo>
                  <a:lnTo>
                    <a:pt x="1870" y="694"/>
                  </a:lnTo>
                  <a:lnTo>
                    <a:pt x="1881" y="683"/>
                  </a:lnTo>
                  <a:lnTo>
                    <a:pt x="1887" y="676"/>
                  </a:lnTo>
                  <a:lnTo>
                    <a:pt x="1887" y="676"/>
                  </a:lnTo>
                  <a:lnTo>
                    <a:pt x="1891" y="672"/>
                  </a:lnTo>
                  <a:lnTo>
                    <a:pt x="1896" y="668"/>
                  </a:lnTo>
                  <a:lnTo>
                    <a:pt x="1902" y="665"/>
                  </a:lnTo>
                  <a:lnTo>
                    <a:pt x="1905" y="661"/>
                  </a:lnTo>
                  <a:lnTo>
                    <a:pt x="1905" y="661"/>
                  </a:lnTo>
                  <a:lnTo>
                    <a:pt x="1907" y="658"/>
                  </a:lnTo>
                  <a:lnTo>
                    <a:pt x="1914" y="654"/>
                  </a:lnTo>
                  <a:lnTo>
                    <a:pt x="1924" y="649"/>
                  </a:lnTo>
                  <a:lnTo>
                    <a:pt x="1934" y="646"/>
                  </a:lnTo>
                  <a:lnTo>
                    <a:pt x="1934" y="646"/>
                  </a:lnTo>
                  <a:lnTo>
                    <a:pt x="1943" y="646"/>
                  </a:lnTo>
                  <a:lnTo>
                    <a:pt x="1953" y="646"/>
                  </a:lnTo>
                  <a:lnTo>
                    <a:pt x="1963" y="649"/>
                  </a:lnTo>
                  <a:lnTo>
                    <a:pt x="1967" y="650"/>
                  </a:lnTo>
                  <a:lnTo>
                    <a:pt x="1967" y="650"/>
                  </a:lnTo>
                  <a:lnTo>
                    <a:pt x="1970" y="653"/>
                  </a:lnTo>
                  <a:lnTo>
                    <a:pt x="1973" y="653"/>
                  </a:lnTo>
                  <a:lnTo>
                    <a:pt x="1975" y="650"/>
                  </a:lnTo>
                  <a:lnTo>
                    <a:pt x="1975" y="650"/>
                  </a:lnTo>
                  <a:lnTo>
                    <a:pt x="1978" y="649"/>
                  </a:lnTo>
                  <a:lnTo>
                    <a:pt x="1981" y="649"/>
                  </a:lnTo>
                  <a:lnTo>
                    <a:pt x="1991" y="650"/>
                  </a:lnTo>
                  <a:lnTo>
                    <a:pt x="1991" y="650"/>
                  </a:lnTo>
                  <a:lnTo>
                    <a:pt x="1995" y="650"/>
                  </a:lnTo>
                  <a:lnTo>
                    <a:pt x="1999" y="649"/>
                  </a:lnTo>
                  <a:lnTo>
                    <a:pt x="2002" y="647"/>
                  </a:lnTo>
                  <a:lnTo>
                    <a:pt x="2006" y="649"/>
                  </a:lnTo>
                  <a:lnTo>
                    <a:pt x="2006" y="649"/>
                  </a:lnTo>
                  <a:lnTo>
                    <a:pt x="2009" y="649"/>
                  </a:lnTo>
                  <a:lnTo>
                    <a:pt x="2013" y="649"/>
                  </a:lnTo>
                  <a:lnTo>
                    <a:pt x="2016" y="647"/>
                  </a:lnTo>
                  <a:lnTo>
                    <a:pt x="2018" y="644"/>
                  </a:lnTo>
                  <a:lnTo>
                    <a:pt x="2018" y="644"/>
                  </a:lnTo>
                  <a:lnTo>
                    <a:pt x="2020" y="642"/>
                  </a:lnTo>
                  <a:lnTo>
                    <a:pt x="2023" y="640"/>
                  </a:lnTo>
                  <a:lnTo>
                    <a:pt x="2030" y="640"/>
                  </a:lnTo>
                  <a:lnTo>
                    <a:pt x="2036" y="640"/>
                  </a:lnTo>
                  <a:lnTo>
                    <a:pt x="2041" y="642"/>
                  </a:lnTo>
                  <a:lnTo>
                    <a:pt x="2041" y="642"/>
                  </a:lnTo>
                  <a:lnTo>
                    <a:pt x="2045" y="646"/>
                  </a:lnTo>
                  <a:lnTo>
                    <a:pt x="2049" y="646"/>
                  </a:lnTo>
                  <a:lnTo>
                    <a:pt x="2052" y="644"/>
                  </a:lnTo>
                  <a:lnTo>
                    <a:pt x="2052" y="644"/>
                  </a:lnTo>
                  <a:lnTo>
                    <a:pt x="2055" y="643"/>
                  </a:lnTo>
                  <a:lnTo>
                    <a:pt x="2056" y="643"/>
                  </a:lnTo>
                  <a:lnTo>
                    <a:pt x="2057" y="646"/>
                  </a:lnTo>
                  <a:lnTo>
                    <a:pt x="2060" y="649"/>
                  </a:lnTo>
                  <a:lnTo>
                    <a:pt x="2063" y="650"/>
                  </a:lnTo>
                  <a:lnTo>
                    <a:pt x="2063" y="650"/>
                  </a:lnTo>
                  <a:lnTo>
                    <a:pt x="2066" y="651"/>
                  </a:lnTo>
                  <a:lnTo>
                    <a:pt x="2066" y="653"/>
                  </a:lnTo>
                  <a:lnTo>
                    <a:pt x="2063" y="654"/>
                  </a:lnTo>
                  <a:lnTo>
                    <a:pt x="2060" y="654"/>
                  </a:lnTo>
                  <a:lnTo>
                    <a:pt x="2060" y="654"/>
                  </a:lnTo>
                  <a:lnTo>
                    <a:pt x="2057" y="654"/>
                  </a:lnTo>
                  <a:lnTo>
                    <a:pt x="2055" y="655"/>
                  </a:lnTo>
                  <a:lnTo>
                    <a:pt x="2053" y="657"/>
                  </a:lnTo>
                  <a:lnTo>
                    <a:pt x="2055" y="660"/>
                  </a:lnTo>
                  <a:lnTo>
                    <a:pt x="2055" y="660"/>
                  </a:lnTo>
                  <a:lnTo>
                    <a:pt x="2059" y="661"/>
                  </a:lnTo>
                  <a:lnTo>
                    <a:pt x="2063" y="660"/>
                  </a:lnTo>
                  <a:lnTo>
                    <a:pt x="2067" y="658"/>
                  </a:lnTo>
                  <a:lnTo>
                    <a:pt x="2071" y="657"/>
                  </a:lnTo>
                  <a:lnTo>
                    <a:pt x="2071" y="657"/>
                  </a:lnTo>
                  <a:lnTo>
                    <a:pt x="2078" y="658"/>
                  </a:lnTo>
                  <a:lnTo>
                    <a:pt x="2082" y="657"/>
                  </a:lnTo>
                  <a:lnTo>
                    <a:pt x="2088" y="654"/>
                  </a:lnTo>
                  <a:lnTo>
                    <a:pt x="2088" y="654"/>
                  </a:lnTo>
                  <a:lnTo>
                    <a:pt x="2091" y="654"/>
                  </a:lnTo>
                  <a:lnTo>
                    <a:pt x="2093" y="654"/>
                  </a:lnTo>
                  <a:lnTo>
                    <a:pt x="2096" y="655"/>
                  </a:lnTo>
                  <a:lnTo>
                    <a:pt x="2099" y="654"/>
                  </a:lnTo>
                  <a:lnTo>
                    <a:pt x="2099" y="654"/>
                  </a:lnTo>
                  <a:lnTo>
                    <a:pt x="2102" y="653"/>
                  </a:lnTo>
                  <a:lnTo>
                    <a:pt x="2106" y="651"/>
                  </a:lnTo>
                  <a:lnTo>
                    <a:pt x="2114" y="650"/>
                  </a:lnTo>
                  <a:lnTo>
                    <a:pt x="2114" y="650"/>
                  </a:lnTo>
                  <a:lnTo>
                    <a:pt x="2116" y="650"/>
                  </a:lnTo>
                  <a:lnTo>
                    <a:pt x="2116" y="649"/>
                  </a:lnTo>
                  <a:lnTo>
                    <a:pt x="2113" y="646"/>
                  </a:lnTo>
                  <a:lnTo>
                    <a:pt x="2109" y="646"/>
                  </a:lnTo>
                  <a:lnTo>
                    <a:pt x="2109" y="646"/>
                  </a:lnTo>
                  <a:lnTo>
                    <a:pt x="2105" y="644"/>
                  </a:lnTo>
                  <a:lnTo>
                    <a:pt x="2103" y="643"/>
                  </a:lnTo>
                  <a:lnTo>
                    <a:pt x="2105" y="639"/>
                  </a:lnTo>
                  <a:lnTo>
                    <a:pt x="2107" y="632"/>
                  </a:lnTo>
                  <a:lnTo>
                    <a:pt x="2107" y="632"/>
                  </a:lnTo>
                  <a:lnTo>
                    <a:pt x="2111" y="626"/>
                  </a:lnTo>
                  <a:lnTo>
                    <a:pt x="2118" y="621"/>
                  </a:lnTo>
                  <a:lnTo>
                    <a:pt x="2130" y="612"/>
                  </a:lnTo>
                  <a:lnTo>
                    <a:pt x="2130" y="612"/>
                  </a:lnTo>
                  <a:lnTo>
                    <a:pt x="2135" y="610"/>
                  </a:lnTo>
                  <a:lnTo>
                    <a:pt x="2138" y="608"/>
                  </a:lnTo>
                  <a:lnTo>
                    <a:pt x="2141" y="607"/>
                  </a:lnTo>
                  <a:lnTo>
                    <a:pt x="2142" y="606"/>
                  </a:lnTo>
                  <a:lnTo>
                    <a:pt x="2142" y="606"/>
                  </a:lnTo>
                  <a:lnTo>
                    <a:pt x="2142" y="601"/>
                  </a:lnTo>
                  <a:lnTo>
                    <a:pt x="2143" y="597"/>
                  </a:lnTo>
                  <a:lnTo>
                    <a:pt x="2146" y="593"/>
                  </a:lnTo>
                  <a:lnTo>
                    <a:pt x="2150" y="592"/>
                  </a:lnTo>
                  <a:lnTo>
                    <a:pt x="2150" y="592"/>
                  </a:lnTo>
                  <a:lnTo>
                    <a:pt x="2161" y="592"/>
                  </a:lnTo>
                  <a:lnTo>
                    <a:pt x="2168" y="590"/>
                  </a:lnTo>
                  <a:lnTo>
                    <a:pt x="2175" y="589"/>
                  </a:lnTo>
                  <a:lnTo>
                    <a:pt x="2175" y="589"/>
                  </a:lnTo>
                  <a:lnTo>
                    <a:pt x="2179" y="587"/>
                  </a:lnTo>
                  <a:lnTo>
                    <a:pt x="2182" y="589"/>
                  </a:lnTo>
                  <a:lnTo>
                    <a:pt x="2184" y="592"/>
                  </a:lnTo>
                  <a:lnTo>
                    <a:pt x="2186" y="593"/>
                  </a:lnTo>
                  <a:lnTo>
                    <a:pt x="2186" y="593"/>
                  </a:lnTo>
                  <a:lnTo>
                    <a:pt x="2189" y="593"/>
                  </a:lnTo>
                  <a:lnTo>
                    <a:pt x="2192" y="590"/>
                  </a:lnTo>
                  <a:lnTo>
                    <a:pt x="2195" y="589"/>
                  </a:lnTo>
                  <a:lnTo>
                    <a:pt x="2198" y="589"/>
                  </a:lnTo>
                  <a:lnTo>
                    <a:pt x="2198" y="589"/>
                  </a:lnTo>
                  <a:lnTo>
                    <a:pt x="2198" y="590"/>
                  </a:lnTo>
                  <a:lnTo>
                    <a:pt x="2198" y="592"/>
                  </a:lnTo>
                  <a:lnTo>
                    <a:pt x="2196" y="594"/>
                  </a:lnTo>
                  <a:lnTo>
                    <a:pt x="2192" y="599"/>
                  </a:lnTo>
                  <a:lnTo>
                    <a:pt x="2189" y="603"/>
                  </a:lnTo>
                  <a:lnTo>
                    <a:pt x="2189" y="603"/>
                  </a:lnTo>
                  <a:lnTo>
                    <a:pt x="2189" y="607"/>
                  </a:lnTo>
                  <a:lnTo>
                    <a:pt x="2192" y="608"/>
                  </a:lnTo>
                  <a:lnTo>
                    <a:pt x="2195" y="608"/>
                  </a:lnTo>
                  <a:lnTo>
                    <a:pt x="2199" y="610"/>
                  </a:lnTo>
                  <a:lnTo>
                    <a:pt x="2199" y="610"/>
                  </a:lnTo>
                  <a:lnTo>
                    <a:pt x="2199" y="610"/>
                  </a:lnTo>
                  <a:lnTo>
                    <a:pt x="2199" y="611"/>
                  </a:lnTo>
                  <a:lnTo>
                    <a:pt x="2198" y="612"/>
                  </a:lnTo>
                  <a:lnTo>
                    <a:pt x="2195" y="614"/>
                  </a:lnTo>
                  <a:lnTo>
                    <a:pt x="2195" y="615"/>
                  </a:lnTo>
                  <a:lnTo>
                    <a:pt x="2195" y="615"/>
                  </a:lnTo>
                  <a:lnTo>
                    <a:pt x="2196" y="617"/>
                  </a:lnTo>
                  <a:lnTo>
                    <a:pt x="2200" y="617"/>
                  </a:lnTo>
                  <a:lnTo>
                    <a:pt x="2206" y="614"/>
                  </a:lnTo>
                  <a:lnTo>
                    <a:pt x="2213" y="607"/>
                  </a:lnTo>
                  <a:lnTo>
                    <a:pt x="2213" y="607"/>
                  </a:lnTo>
                  <a:lnTo>
                    <a:pt x="2221" y="601"/>
                  </a:lnTo>
                  <a:lnTo>
                    <a:pt x="2228" y="597"/>
                  </a:lnTo>
                  <a:lnTo>
                    <a:pt x="2234" y="596"/>
                  </a:lnTo>
                  <a:lnTo>
                    <a:pt x="2239" y="596"/>
                  </a:lnTo>
                  <a:lnTo>
                    <a:pt x="2239" y="596"/>
                  </a:lnTo>
                  <a:lnTo>
                    <a:pt x="2242" y="594"/>
                  </a:lnTo>
                  <a:lnTo>
                    <a:pt x="2243" y="592"/>
                  </a:lnTo>
                  <a:lnTo>
                    <a:pt x="2242" y="581"/>
                  </a:lnTo>
                  <a:lnTo>
                    <a:pt x="2242" y="581"/>
                  </a:lnTo>
                  <a:lnTo>
                    <a:pt x="2243" y="576"/>
                  </a:lnTo>
                  <a:lnTo>
                    <a:pt x="2246" y="574"/>
                  </a:lnTo>
                  <a:lnTo>
                    <a:pt x="2249" y="572"/>
                  </a:lnTo>
                  <a:lnTo>
                    <a:pt x="2253" y="571"/>
                  </a:lnTo>
                  <a:lnTo>
                    <a:pt x="2263" y="569"/>
                  </a:lnTo>
                  <a:lnTo>
                    <a:pt x="2270" y="571"/>
                  </a:lnTo>
                  <a:lnTo>
                    <a:pt x="2270" y="571"/>
                  </a:lnTo>
                  <a:lnTo>
                    <a:pt x="2273" y="572"/>
                  </a:lnTo>
                  <a:lnTo>
                    <a:pt x="2274" y="574"/>
                  </a:lnTo>
                  <a:lnTo>
                    <a:pt x="2273" y="575"/>
                  </a:lnTo>
                  <a:lnTo>
                    <a:pt x="2270" y="574"/>
                  </a:lnTo>
                  <a:lnTo>
                    <a:pt x="2270" y="574"/>
                  </a:lnTo>
                  <a:lnTo>
                    <a:pt x="2264" y="574"/>
                  </a:lnTo>
                  <a:lnTo>
                    <a:pt x="2261" y="576"/>
                  </a:lnTo>
                  <a:lnTo>
                    <a:pt x="2259" y="581"/>
                  </a:lnTo>
                  <a:lnTo>
                    <a:pt x="2257" y="586"/>
                  </a:lnTo>
                  <a:lnTo>
                    <a:pt x="2257" y="586"/>
                  </a:lnTo>
                  <a:lnTo>
                    <a:pt x="2257" y="590"/>
                  </a:lnTo>
                  <a:lnTo>
                    <a:pt x="2254" y="594"/>
                  </a:lnTo>
                  <a:lnTo>
                    <a:pt x="2254" y="597"/>
                  </a:lnTo>
                  <a:lnTo>
                    <a:pt x="2254" y="600"/>
                  </a:lnTo>
                  <a:lnTo>
                    <a:pt x="2254" y="600"/>
                  </a:lnTo>
                  <a:lnTo>
                    <a:pt x="2256" y="601"/>
                  </a:lnTo>
                  <a:lnTo>
                    <a:pt x="2253" y="603"/>
                  </a:lnTo>
                  <a:lnTo>
                    <a:pt x="2252" y="604"/>
                  </a:lnTo>
                  <a:lnTo>
                    <a:pt x="2250" y="607"/>
                  </a:lnTo>
                  <a:lnTo>
                    <a:pt x="2250" y="607"/>
                  </a:lnTo>
                  <a:lnTo>
                    <a:pt x="2249" y="611"/>
                  </a:lnTo>
                  <a:lnTo>
                    <a:pt x="2248" y="612"/>
                  </a:lnTo>
                  <a:lnTo>
                    <a:pt x="2246" y="614"/>
                  </a:lnTo>
                  <a:lnTo>
                    <a:pt x="2246" y="614"/>
                  </a:lnTo>
                  <a:lnTo>
                    <a:pt x="2234" y="617"/>
                  </a:lnTo>
                  <a:lnTo>
                    <a:pt x="2228" y="619"/>
                  </a:lnTo>
                  <a:lnTo>
                    <a:pt x="2225" y="621"/>
                  </a:lnTo>
                  <a:lnTo>
                    <a:pt x="2225" y="622"/>
                  </a:lnTo>
                  <a:lnTo>
                    <a:pt x="2225" y="622"/>
                  </a:lnTo>
                  <a:lnTo>
                    <a:pt x="2224" y="626"/>
                  </a:lnTo>
                  <a:lnTo>
                    <a:pt x="2220" y="629"/>
                  </a:lnTo>
                  <a:lnTo>
                    <a:pt x="2216" y="632"/>
                  </a:lnTo>
                  <a:lnTo>
                    <a:pt x="2213" y="636"/>
                  </a:lnTo>
                  <a:lnTo>
                    <a:pt x="2213" y="636"/>
                  </a:lnTo>
                  <a:lnTo>
                    <a:pt x="2207" y="642"/>
                  </a:lnTo>
                  <a:lnTo>
                    <a:pt x="2200" y="647"/>
                  </a:lnTo>
                  <a:lnTo>
                    <a:pt x="2192" y="654"/>
                  </a:lnTo>
                  <a:lnTo>
                    <a:pt x="2188" y="658"/>
                  </a:lnTo>
                  <a:lnTo>
                    <a:pt x="2184" y="664"/>
                  </a:lnTo>
                  <a:lnTo>
                    <a:pt x="2184" y="664"/>
                  </a:lnTo>
                  <a:lnTo>
                    <a:pt x="2179" y="668"/>
                  </a:lnTo>
                  <a:lnTo>
                    <a:pt x="2175" y="672"/>
                  </a:lnTo>
                  <a:lnTo>
                    <a:pt x="2167" y="676"/>
                  </a:lnTo>
                  <a:lnTo>
                    <a:pt x="2160" y="679"/>
                  </a:lnTo>
                  <a:lnTo>
                    <a:pt x="2159" y="680"/>
                  </a:lnTo>
                  <a:lnTo>
                    <a:pt x="2157" y="680"/>
                  </a:lnTo>
                  <a:lnTo>
                    <a:pt x="2157" y="680"/>
                  </a:lnTo>
                  <a:lnTo>
                    <a:pt x="2156" y="682"/>
                  </a:lnTo>
                  <a:lnTo>
                    <a:pt x="2152" y="683"/>
                  </a:lnTo>
                  <a:lnTo>
                    <a:pt x="2143" y="683"/>
                  </a:lnTo>
                  <a:lnTo>
                    <a:pt x="2143" y="683"/>
                  </a:lnTo>
                  <a:lnTo>
                    <a:pt x="2142" y="685"/>
                  </a:lnTo>
                  <a:lnTo>
                    <a:pt x="2142" y="686"/>
                  </a:lnTo>
                  <a:lnTo>
                    <a:pt x="2142" y="690"/>
                  </a:lnTo>
                  <a:lnTo>
                    <a:pt x="2142" y="696"/>
                  </a:lnTo>
                  <a:lnTo>
                    <a:pt x="2141" y="700"/>
                  </a:lnTo>
                  <a:lnTo>
                    <a:pt x="2138" y="703"/>
                  </a:lnTo>
                  <a:lnTo>
                    <a:pt x="2138" y="703"/>
                  </a:lnTo>
                  <a:lnTo>
                    <a:pt x="2132" y="711"/>
                  </a:lnTo>
                  <a:lnTo>
                    <a:pt x="2127" y="719"/>
                  </a:lnTo>
                  <a:lnTo>
                    <a:pt x="2124" y="729"/>
                  </a:lnTo>
                  <a:lnTo>
                    <a:pt x="2124" y="739"/>
                  </a:lnTo>
                  <a:lnTo>
                    <a:pt x="2124" y="739"/>
                  </a:lnTo>
                  <a:lnTo>
                    <a:pt x="2127" y="769"/>
                  </a:lnTo>
                  <a:lnTo>
                    <a:pt x="2130" y="786"/>
                  </a:lnTo>
                  <a:lnTo>
                    <a:pt x="2132" y="797"/>
                  </a:lnTo>
                  <a:lnTo>
                    <a:pt x="2132" y="797"/>
                  </a:lnTo>
                  <a:lnTo>
                    <a:pt x="2134" y="803"/>
                  </a:lnTo>
                  <a:lnTo>
                    <a:pt x="2135" y="811"/>
                  </a:lnTo>
                  <a:lnTo>
                    <a:pt x="2135" y="818"/>
                  </a:lnTo>
                  <a:lnTo>
                    <a:pt x="2136" y="823"/>
                  </a:lnTo>
                  <a:lnTo>
                    <a:pt x="2136" y="823"/>
                  </a:lnTo>
                  <a:lnTo>
                    <a:pt x="2138" y="826"/>
                  </a:lnTo>
                  <a:lnTo>
                    <a:pt x="2139" y="829"/>
                  </a:lnTo>
                  <a:lnTo>
                    <a:pt x="2139" y="832"/>
                  </a:lnTo>
                  <a:lnTo>
                    <a:pt x="2141" y="835"/>
                  </a:lnTo>
                  <a:lnTo>
                    <a:pt x="2141" y="835"/>
                  </a:lnTo>
                  <a:lnTo>
                    <a:pt x="2142" y="835"/>
                  </a:lnTo>
                  <a:lnTo>
                    <a:pt x="2143" y="833"/>
                  </a:lnTo>
                  <a:lnTo>
                    <a:pt x="2148" y="830"/>
                  </a:lnTo>
                  <a:lnTo>
                    <a:pt x="2157" y="821"/>
                  </a:lnTo>
                  <a:lnTo>
                    <a:pt x="2157" y="821"/>
                  </a:lnTo>
                  <a:lnTo>
                    <a:pt x="2160" y="816"/>
                  </a:lnTo>
                  <a:lnTo>
                    <a:pt x="2161" y="815"/>
                  </a:lnTo>
                  <a:lnTo>
                    <a:pt x="2163" y="814"/>
                  </a:lnTo>
                  <a:lnTo>
                    <a:pt x="2166" y="811"/>
                  </a:lnTo>
                  <a:lnTo>
                    <a:pt x="2166" y="811"/>
                  </a:lnTo>
                  <a:lnTo>
                    <a:pt x="2167" y="808"/>
                  </a:lnTo>
                  <a:lnTo>
                    <a:pt x="2168" y="804"/>
                  </a:lnTo>
                  <a:lnTo>
                    <a:pt x="2168" y="796"/>
                  </a:lnTo>
                  <a:lnTo>
                    <a:pt x="2168" y="796"/>
                  </a:lnTo>
                  <a:lnTo>
                    <a:pt x="2171" y="793"/>
                  </a:lnTo>
                  <a:lnTo>
                    <a:pt x="2174" y="792"/>
                  </a:lnTo>
                  <a:lnTo>
                    <a:pt x="2177" y="790"/>
                  </a:lnTo>
                  <a:lnTo>
                    <a:pt x="2179" y="789"/>
                  </a:lnTo>
                  <a:lnTo>
                    <a:pt x="2179" y="789"/>
                  </a:lnTo>
                  <a:lnTo>
                    <a:pt x="2182" y="786"/>
                  </a:lnTo>
                  <a:lnTo>
                    <a:pt x="2185" y="786"/>
                  </a:lnTo>
                  <a:lnTo>
                    <a:pt x="2191" y="786"/>
                  </a:lnTo>
                  <a:lnTo>
                    <a:pt x="2191" y="786"/>
                  </a:lnTo>
                  <a:lnTo>
                    <a:pt x="2192" y="783"/>
                  </a:lnTo>
                  <a:lnTo>
                    <a:pt x="2192" y="780"/>
                  </a:lnTo>
                  <a:lnTo>
                    <a:pt x="2189" y="772"/>
                  </a:lnTo>
                  <a:lnTo>
                    <a:pt x="2189" y="772"/>
                  </a:lnTo>
                  <a:lnTo>
                    <a:pt x="2189" y="771"/>
                  </a:lnTo>
                  <a:lnTo>
                    <a:pt x="2191" y="769"/>
                  </a:lnTo>
                  <a:lnTo>
                    <a:pt x="2195" y="765"/>
                  </a:lnTo>
                  <a:lnTo>
                    <a:pt x="2204" y="758"/>
                  </a:lnTo>
                  <a:lnTo>
                    <a:pt x="2204" y="758"/>
                  </a:lnTo>
                  <a:lnTo>
                    <a:pt x="2209" y="757"/>
                  </a:lnTo>
                  <a:lnTo>
                    <a:pt x="2214" y="757"/>
                  </a:lnTo>
                  <a:lnTo>
                    <a:pt x="2218" y="757"/>
                  </a:lnTo>
                  <a:lnTo>
                    <a:pt x="2221" y="757"/>
                  </a:lnTo>
                  <a:lnTo>
                    <a:pt x="2224" y="755"/>
                  </a:lnTo>
                  <a:lnTo>
                    <a:pt x="2224" y="755"/>
                  </a:lnTo>
                  <a:lnTo>
                    <a:pt x="2225" y="753"/>
                  </a:lnTo>
                  <a:lnTo>
                    <a:pt x="2225" y="751"/>
                  </a:lnTo>
                  <a:lnTo>
                    <a:pt x="2225" y="746"/>
                  </a:lnTo>
                  <a:lnTo>
                    <a:pt x="2223" y="743"/>
                  </a:lnTo>
                  <a:lnTo>
                    <a:pt x="2221" y="740"/>
                  </a:lnTo>
                  <a:lnTo>
                    <a:pt x="2221" y="740"/>
                  </a:lnTo>
                  <a:lnTo>
                    <a:pt x="2220" y="737"/>
                  </a:lnTo>
                  <a:lnTo>
                    <a:pt x="2221" y="736"/>
                  </a:lnTo>
                  <a:lnTo>
                    <a:pt x="2224" y="729"/>
                  </a:lnTo>
                  <a:lnTo>
                    <a:pt x="2228" y="723"/>
                  </a:lnTo>
                  <a:lnTo>
                    <a:pt x="2232" y="721"/>
                  </a:lnTo>
                  <a:lnTo>
                    <a:pt x="2232" y="721"/>
                  </a:lnTo>
                  <a:lnTo>
                    <a:pt x="2235" y="721"/>
                  </a:lnTo>
                  <a:lnTo>
                    <a:pt x="2238" y="721"/>
                  </a:lnTo>
                  <a:lnTo>
                    <a:pt x="2241" y="722"/>
                  </a:lnTo>
                  <a:lnTo>
                    <a:pt x="2243" y="719"/>
                  </a:lnTo>
                  <a:lnTo>
                    <a:pt x="2243" y="719"/>
                  </a:lnTo>
                  <a:lnTo>
                    <a:pt x="2245" y="718"/>
                  </a:lnTo>
                  <a:lnTo>
                    <a:pt x="2245" y="717"/>
                  </a:lnTo>
                  <a:lnTo>
                    <a:pt x="2243" y="712"/>
                  </a:lnTo>
                  <a:lnTo>
                    <a:pt x="2239" y="710"/>
                  </a:lnTo>
                  <a:lnTo>
                    <a:pt x="2236" y="710"/>
                  </a:lnTo>
                  <a:lnTo>
                    <a:pt x="2236" y="710"/>
                  </a:lnTo>
                  <a:lnTo>
                    <a:pt x="2235" y="710"/>
                  </a:lnTo>
                  <a:lnTo>
                    <a:pt x="2234" y="708"/>
                  </a:lnTo>
                  <a:lnTo>
                    <a:pt x="2234" y="703"/>
                  </a:lnTo>
                  <a:lnTo>
                    <a:pt x="2235" y="697"/>
                  </a:lnTo>
                  <a:lnTo>
                    <a:pt x="2236" y="694"/>
                  </a:lnTo>
                  <a:lnTo>
                    <a:pt x="2239" y="692"/>
                  </a:lnTo>
                  <a:lnTo>
                    <a:pt x="2239" y="692"/>
                  </a:lnTo>
                  <a:lnTo>
                    <a:pt x="2243" y="689"/>
                  </a:lnTo>
                  <a:lnTo>
                    <a:pt x="2243" y="686"/>
                  </a:lnTo>
                  <a:lnTo>
                    <a:pt x="2242" y="685"/>
                  </a:lnTo>
                  <a:lnTo>
                    <a:pt x="2239" y="683"/>
                  </a:lnTo>
                  <a:lnTo>
                    <a:pt x="2239" y="683"/>
                  </a:lnTo>
                  <a:lnTo>
                    <a:pt x="2236" y="683"/>
                  </a:lnTo>
                  <a:lnTo>
                    <a:pt x="2234" y="683"/>
                  </a:lnTo>
                  <a:lnTo>
                    <a:pt x="2229" y="685"/>
                  </a:lnTo>
                  <a:lnTo>
                    <a:pt x="2229" y="685"/>
                  </a:lnTo>
                  <a:lnTo>
                    <a:pt x="2227" y="683"/>
                  </a:lnTo>
                  <a:lnTo>
                    <a:pt x="2224" y="679"/>
                  </a:lnTo>
                  <a:lnTo>
                    <a:pt x="2224" y="674"/>
                  </a:lnTo>
                  <a:lnTo>
                    <a:pt x="2227" y="668"/>
                  </a:lnTo>
                  <a:lnTo>
                    <a:pt x="2227" y="668"/>
                  </a:lnTo>
                  <a:lnTo>
                    <a:pt x="2232" y="664"/>
                  </a:lnTo>
                  <a:lnTo>
                    <a:pt x="2235" y="661"/>
                  </a:lnTo>
                  <a:lnTo>
                    <a:pt x="2239" y="658"/>
                  </a:lnTo>
                  <a:lnTo>
                    <a:pt x="2241" y="654"/>
                  </a:lnTo>
                  <a:lnTo>
                    <a:pt x="2241" y="654"/>
                  </a:lnTo>
                  <a:lnTo>
                    <a:pt x="2242" y="649"/>
                  </a:lnTo>
                  <a:lnTo>
                    <a:pt x="2246" y="643"/>
                  </a:lnTo>
                  <a:lnTo>
                    <a:pt x="2252" y="635"/>
                  </a:lnTo>
                  <a:lnTo>
                    <a:pt x="2252" y="635"/>
                  </a:lnTo>
                  <a:lnTo>
                    <a:pt x="2254" y="633"/>
                  </a:lnTo>
                  <a:lnTo>
                    <a:pt x="2259" y="633"/>
                  </a:lnTo>
                  <a:lnTo>
                    <a:pt x="2266" y="633"/>
                  </a:lnTo>
                  <a:lnTo>
                    <a:pt x="2266" y="633"/>
                  </a:lnTo>
                  <a:lnTo>
                    <a:pt x="2267" y="635"/>
                  </a:lnTo>
                  <a:lnTo>
                    <a:pt x="2268" y="636"/>
                  </a:lnTo>
                  <a:lnTo>
                    <a:pt x="2270" y="637"/>
                  </a:lnTo>
                  <a:lnTo>
                    <a:pt x="2273" y="636"/>
                  </a:lnTo>
                  <a:lnTo>
                    <a:pt x="2273" y="636"/>
                  </a:lnTo>
                  <a:lnTo>
                    <a:pt x="2279" y="628"/>
                  </a:lnTo>
                  <a:lnTo>
                    <a:pt x="2284" y="624"/>
                  </a:lnTo>
                  <a:lnTo>
                    <a:pt x="2288" y="622"/>
                  </a:lnTo>
                  <a:lnTo>
                    <a:pt x="2288" y="622"/>
                  </a:lnTo>
                  <a:lnTo>
                    <a:pt x="2289" y="622"/>
                  </a:lnTo>
                  <a:lnTo>
                    <a:pt x="2291" y="624"/>
                  </a:lnTo>
                  <a:lnTo>
                    <a:pt x="2291" y="626"/>
                  </a:lnTo>
                  <a:lnTo>
                    <a:pt x="2291" y="630"/>
                  </a:lnTo>
                  <a:lnTo>
                    <a:pt x="2291" y="635"/>
                  </a:lnTo>
                  <a:lnTo>
                    <a:pt x="2291" y="635"/>
                  </a:lnTo>
                  <a:lnTo>
                    <a:pt x="2292" y="637"/>
                  </a:lnTo>
                  <a:lnTo>
                    <a:pt x="2295" y="636"/>
                  </a:lnTo>
                  <a:lnTo>
                    <a:pt x="2306" y="626"/>
                  </a:lnTo>
                  <a:lnTo>
                    <a:pt x="2306" y="626"/>
                  </a:lnTo>
                  <a:lnTo>
                    <a:pt x="2310" y="625"/>
                  </a:lnTo>
                  <a:lnTo>
                    <a:pt x="2316" y="624"/>
                  </a:lnTo>
                  <a:lnTo>
                    <a:pt x="2327" y="622"/>
                  </a:lnTo>
                  <a:lnTo>
                    <a:pt x="2336" y="622"/>
                  </a:lnTo>
                  <a:lnTo>
                    <a:pt x="2345" y="624"/>
                  </a:lnTo>
                  <a:lnTo>
                    <a:pt x="2345" y="624"/>
                  </a:lnTo>
                  <a:lnTo>
                    <a:pt x="2349" y="626"/>
                  </a:lnTo>
                  <a:lnTo>
                    <a:pt x="2352" y="630"/>
                  </a:lnTo>
                  <a:lnTo>
                    <a:pt x="2353" y="633"/>
                  </a:lnTo>
                  <a:lnTo>
                    <a:pt x="2356" y="633"/>
                  </a:lnTo>
                  <a:lnTo>
                    <a:pt x="2356" y="633"/>
                  </a:lnTo>
                  <a:lnTo>
                    <a:pt x="2359" y="632"/>
                  </a:lnTo>
                  <a:lnTo>
                    <a:pt x="2360" y="629"/>
                  </a:lnTo>
                  <a:lnTo>
                    <a:pt x="2360" y="626"/>
                  </a:lnTo>
                  <a:lnTo>
                    <a:pt x="2363" y="625"/>
                  </a:lnTo>
                  <a:lnTo>
                    <a:pt x="2363" y="625"/>
                  </a:lnTo>
                  <a:lnTo>
                    <a:pt x="2374" y="619"/>
                  </a:lnTo>
                  <a:lnTo>
                    <a:pt x="2385" y="612"/>
                  </a:lnTo>
                  <a:lnTo>
                    <a:pt x="2385" y="612"/>
                  </a:lnTo>
                  <a:lnTo>
                    <a:pt x="2391" y="608"/>
                  </a:lnTo>
                  <a:lnTo>
                    <a:pt x="2395" y="606"/>
                  </a:lnTo>
                  <a:lnTo>
                    <a:pt x="2395" y="606"/>
                  </a:lnTo>
                  <a:lnTo>
                    <a:pt x="2397" y="603"/>
                  </a:lnTo>
                  <a:lnTo>
                    <a:pt x="2400" y="601"/>
                  </a:lnTo>
                  <a:lnTo>
                    <a:pt x="2402" y="601"/>
                  </a:lnTo>
                  <a:lnTo>
                    <a:pt x="2403" y="600"/>
                  </a:lnTo>
                  <a:lnTo>
                    <a:pt x="2403" y="600"/>
                  </a:lnTo>
                  <a:lnTo>
                    <a:pt x="2406" y="597"/>
                  </a:lnTo>
                  <a:lnTo>
                    <a:pt x="2411" y="593"/>
                  </a:lnTo>
                  <a:lnTo>
                    <a:pt x="2420" y="590"/>
                  </a:lnTo>
                  <a:lnTo>
                    <a:pt x="2429" y="587"/>
                  </a:lnTo>
                  <a:lnTo>
                    <a:pt x="2429" y="587"/>
                  </a:lnTo>
                  <a:lnTo>
                    <a:pt x="2442" y="585"/>
                  </a:lnTo>
                  <a:lnTo>
                    <a:pt x="2452" y="579"/>
                  </a:lnTo>
                  <a:lnTo>
                    <a:pt x="2460" y="575"/>
                  </a:lnTo>
                  <a:lnTo>
                    <a:pt x="2461" y="574"/>
                  </a:lnTo>
                  <a:lnTo>
                    <a:pt x="2463" y="572"/>
                  </a:lnTo>
                  <a:lnTo>
                    <a:pt x="2463" y="572"/>
                  </a:lnTo>
                  <a:lnTo>
                    <a:pt x="2463" y="569"/>
                  </a:lnTo>
                  <a:lnTo>
                    <a:pt x="2465" y="569"/>
                  </a:lnTo>
                  <a:lnTo>
                    <a:pt x="2467" y="569"/>
                  </a:lnTo>
                  <a:lnTo>
                    <a:pt x="2468" y="571"/>
                  </a:lnTo>
                  <a:lnTo>
                    <a:pt x="2468" y="571"/>
                  </a:lnTo>
                  <a:lnTo>
                    <a:pt x="2470" y="572"/>
                  </a:lnTo>
                  <a:lnTo>
                    <a:pt x="2474" y="572"/>
                  </a:lnTo>
                  <a:lnTo>
                    <a:pt x="2482" y="574"/>
                  </a:lnTo>
                  <a:lnTo>
                    <a:pt x="2482" y="574"/>
                  </a:lnTo>
                  <a:lnTo>
                    <a:pt x="2492" y="576"/>
                  </a:lnTo>
                  <a:lnTo>
                    <a:pt x="2496" y="575"/>
                  </a:lnTo>
                  <a:lnTo>
                    <a:pt x="2500" y="572"/>
                  </a:lnTo>
                  <a:lnTo>
                    <a:pt x="2500" y="572"/>
                  </a:lnTo>
                  <a:lnTo>
                    <a:pt x="2502" y="568"/>
                  </a:lnTo>
                  <a:lnTo>
                    <a:pt x="2502" y="565"/>
                  </a:lnTo>
                  <a:lnTo>
                    <a:pt x="2500" y="562"/>
                  </a:lnTo>
                  <a:lnTo>
                    <a:pt x="2499" y="560"/>
                  </a:lnTo>
                  <a:lnTo>
                    <a:pt x="2499" y="560"/>
                  </a:lnTo>
                  <a:lnTo>
                    <a:pt x="2497" y="557"/>
                  </a:lnTo>
                  <a:lnTo>
                    <a:pt x="2495" y="553"/>
                  </a:lnTo>
                  <a:lnTo>
                    <a:pt x="2490" y="549"/>
                  </a:lnTo>
                  <a:lnTo>
                    <a:pt x="2490" y="547"/>
                  </a:lnTo>
                  <a:lnTo>
                    <a:pt x="2490" y="546"/>
                  </a:lnTo>
                  <a:lnTo>
                    <a:pt x="2490" y="546"/>
                  </a:lnTo>
                  <a:lnTo>
                    <a:pt x="2489" y="540"/>
                  </a:lnTo>
                  <a:lnTo>
                    <a:pt x="2486" y="535"/>
                  </a:lnTo>
                  <a:lnTo>
                    <a:pt x="2482" y="531"/>
                  </a:lnTo>
                  <a:lnTo>
                    <a:pt x="2481" y="531"/>
                  </a:lnTo>
                  <a:lnTo>
                    <a:pt x="2479" y="531"/>
                  </a:lnTo>
                  <a:lnTo>
                    <a:pt x="2479" y="531"/>
                  </a:lnTo>
                  <a:lnTo>
                    <a:pt x="2477" y="531"/>
                  </a:lnTo>
                  <a:lnTo>
                    <a:pt x="2474" y="529"/>
                  </a:lnTo>
                  <a:lnTo>
                    <a:pt x="2471" y="528"/>
                  </a:lnTo>
                  <a:lnTo>
                    <a:pt x="2471" y="525"/>
                  </a:lnTo>
                  <a:lnTo>
                    <a:pt x="2471" y="525"/>
                  </a:lnTo>
                  <a:lnTo>
                    <a:pt x="2470" y="519"/>
                  </a:lnTo>
                  <a:lnTo>
                    <a:pt x="2468" y="518"/>
                  </a:lnTo>
                  <a:lnTo>
                    <a:pt x="2465" y="519"/>
                  </a:lnTo>
                  <a:lnTo>
                    <a:pt x="2465" y="519"/>
                  </a:lnTo>
                  <a:lnTo>
                    <a:pt x="2461" y="521"/>
                  </a:lnTo>
                  <a:lnTo>
                    <a:pt x="2457" y="521"/>
                  </a:lnTo>
                  <a:lnTo>
                    <a:pt x="2454" y="519"/>
                  </a:lnTo>
                  <a:lnTo>
                    <a:pt x="2453" y="517"/>
                  </a:lnTo>
                  <a:lnTo>
                    <a:pt x="2453" y="517"/>
                  </a:lnTo>
                  <a:lnTo>
                    <a:pt x="2453" y="515"/>
                  </a:lnTo>
                  <a:lnTo>
                    <a:pt x="2453" y="514"/>
                  </a:lnTo>
                  <a:lnTo>
                    <a:pt x="2457" y="511"/>
                  </a:lnTo>
                  <a:lnTo>
                    <a:pt x="2463" y="511"/>
                  </a:lnTo>
                  <a:lnTo>
                    <a:pt x="2468" y="513"/>
                  </a:lnTo>
                  <a:lnTo>
                    <a:pt x="2468" y="513"/>
                  </a:lnTo>
                  <a:lnTo>
                    <a:pt x="2471" y="514"/>
                  </a:lnTo>
                  <a:lnTo>
                    <a:pt x="2474" y="515"/>
                  </a:lnTo>
                  <a:lnTo>
                    <a:pt x="2474" y="518"/>
                  </a:lnTo>
                  <a:lnTo>
                    <a:pt x="2477" y="519"/>
                  </a:lnTo>
                  <a:lnTo>
                    <a:pt x="2477" y="519"/>
                  </a:lnTo>
                  <a:lnTo>
                    <a:pt x="2479" y="521"/>
                  </a:lnTo>
                  <a:lnTo>
                    <a:pt x="2485" y="521"/>
                  </a:lnTo>
                  <a:lnTo>
                    <a:pt x="2489" y="519"/>
                  </a:lnTo>
                  <a:lnTo>
                    <a:pt x="2495" y="518"/>
                  </a:lnTo>
                  <a:lnTo>
                    <a:pt x="2495" y="518"/>
                  </a:lnTo>
                  <a:lnTo>
                    <a:pt x="2506" y="514"/>
                  </a:lnTo>
                  <a:lnTo>
                    <a:pt x="2511" y="511"/>
                  </a:lnTo>
                  <a:lnTo>
                    <a:pt x="2515" y="508"/>
                  </a:lnTo>
                  <a:lnTo>
                    <a:pt x="2515" y="508"/>
                  </a:lnTo>
                  <a:lnTo>
                    <a:pt x="2515" y="506"/>
                  </a:lnTo>
                  <a:lnTo>
                    <a:pt x="2517" y="503"/>
                  </a:lnTo>
                  <a:lnTo>
                    <a:pt x="2517" y="501"/>
                  </a:lnTo>
                  <a:lnTo>
                    <a:pt x="2520" y="500"/>
                  </a:lnTo>
                  <a:lnTo>
                    <a:pt x="2520" y="500"/>
                  </a:lnTo>
                  <a:lnTo>
                    <a:pt x="2521" y="497"/>
                  </a:lnTo>
                  <a:lnTo>
                    <a:pt x="2521" y="494"/>
                  </a:lnTo>
                  <a:lnTo>
                    <a:pt x="2520" y="492"/>
                  </a:lnTo>
                  <a:lnTo>
                    <a:pt x="2517" y="490"/>
                  </a:lnTo>
                  <a:lnTo>
                    <a:pt x="2517" y="490"/>
                  </a:lnTo>
                  <a:lnTo>
                    <a:pt x="2514" y="489"/>
                  </a:lnTo>
                  <a:lnTo>
                    <a:pt x="2514" y="486"/>
                  </a:lnTo>
                  <a:lnTo>
                    <a:pt x="2515" y="483"/>
                  </a:lnTo>
                  <a:lnTo>
                    <a:pt x="2518" y="483"/>
                  </a:lnTo>
                  <a:lnTo>
                    <a:pt x="2518" y="483"/>
                  </a:lnTo>
                  <a:lnTo>
                    <a:pt x="2520" y="482"/>
                  </a:lnTo>
                  <a:lnTo>
                    <a:pt x="2521" y="481"/>
                  </a:lnTo>
                  <a:lnTo>
                    <a:pt x="2522" y="479"/>
                  </a:lnTo>
                  <a:lnTo>
                    <a:pt x="2524" y="478"/>
                  </a:lnTo>
                  <a:lnTo>
                    <a:pt x="2524" y="478"/>
                  </a:lnTo>
                  <a:lnTo>
                    <a:pt x="2527" y="478"/>
                  </a:lnTo>
                  <a:lnTo>
                    <a:pt x="2529" y="478"/>
                  </a:lnTo>
                  <a:lnTo>
                    <a:pt x="2532" y="478"/>
                  </a:lnTo>
                  <a:lnTo>
                    <a:pt x="2532" y="478"/>
                  </a:lnTo>
                  <a:lnTo>
                    <a:pt x="2534" y="476"/>
                  </a:lnTo>
                  <a:lnTo>
                    <a:pt x="2534" y="479"/>
                  </a:lnTo>
                  <a:lnTo>
                    <a:pt x="2529" y="486"/>
                  </a:lnTo>
                  <a:lnTo>
                    <a:pt x="2529" y="486"/>
                  </a:lnTo>
                  <a:lnTo>
                    <a:pt x="2529" y="489"/>
                  </a:lnTo>
                  <a:lnTo>
                    <a:pt x="2531" y="492"/>
                  </a:lnTo>
                  <a:lnTo>
                    <a:pt x="2534" y="494"/>
                  </a:lnTo>
                  <a:lnTo>
                    <a:pt x="2535" y="496"/>
                  </a:lnTo>
                  <a:lnTo>
                    <a:pt x="2535" y="496"/>
                  </a:lnTo>
                  <a:lnTo>
                    <a:pt x="2538" y="497"/>
                  </a:lnTo>
                  <a:lnTo>
                    <a:pt x="2542" y="499"/>
                  </a:lnTo>
                  <a:lnTo>
                    <a:pt x="2546" y="499"/>
                  </a:lnTo>
                  <a:lnTo>
                    <a:pt x="2552" y="497"/>
                  </a:lnTo>
                  <a:lnTo>
                    <a:pt x="2552" y="497"/>
                  </a:lnTo>
                  <a:lnTo>
                    <a:pt x="2554" y="496"/>
                  </a:lnTo>
                  <a:lnTo>
                    <a:pt x="2557" y="496"/>
                  </a:lnTo>
                  <a:lnTo>
                    <a:pt x="2565" y="497"/>
                  </a:lnTo>
                  <a:lnTo>
                    <a:pt x="2572" y="501"/>
                  </a:lnTo>
                  <a:lnTo>
                    <a:pt x="2575" y="503"/>
                  </a:lnTo>
                  <a:lnTo>
                    <a:pt x="2577" y="504"/>
                  </a:lnTo>
                  <a:lnTo>
                    <a:pt x="2577" y="504"/>
                  </a:lnTo>
                  <a:lnTo>
                    <a:pt x="2577" y="508"/>
                  </a:lnTo>
                  <a:lnTo>
                    <a:pt x="2579" y="511"/>
                  </a:lnTo>
                  <a:lnTo>
                    <a:pt x="2582" y="515"/>
                  </a:lnTo>
                  <a:lnTo>
                    <a:pt x="2588" y="518"/>
                  </a:lnTo>
                  <a:lnTo>
                    <a:pt x="2588" y="518"/>
                  </a:lnTo>
                  <a:lnTo>
                    <a:pt x="2592" y="519"/>
                  </a:lnTo>
                  <a:lnTo>
                    <a:pt x="2597" y="521"/>
                  </a:lnTo>
                  <a:lnTo>
                    <a:pt x="2600" y="522"/>
                  </a:lnTo>
                  <a:lnTo>
                    <a:pt x="2603" y="524"/>
                  </a:lnTo>
                  <a:lnTo>
                    <a:pt x="2603" y="524"/>
                  </a:lnTo>
                  <a:lnTo>
                    <a:pt x="2604" y="526"/>
                  </a:lnTo>
                  <a:lnTo>
                    <a:pt x="2606" y="528"/>
                  </a:lnTo>
                  <a:lnTo>
                    <a:pt x="2608" y="528"/>
                  </a:lnTo>
                  <a:lnTo>
                    <a:pt x="2611" y="528"/>
                  </a:lnTo>
                  <a:lnTo>
                    <a:pt x="2611" y="528"/>
                  </a:lnTo>
                  <a:lnTo>
                    <a:pt x="2614" y="528"/>
                  </a:lnTo>
                  <a:lnTo>
                    <a:pt x="2615" y="529"/>
                  </a:lnTo>
                  <a:lnTo>
                    <a:pt x="2618" y="531"/>
                  </a:lnTo>
                  <a:lnTo>
                    <a:pt x="2621" y="529"/>
                  </a:lnTo>
                  <a:lnTo>
                    <a:pt x="2621" y="529"/>
                  </a:lnTo>
                  <a:lnTo>
                    <a:pt x="2622" y="528"/>
                  </a:lnTo>
                  <a:lnTo>
                    <a:pt x="2624" y="528"/>
                  </a:lnTo>
                  <a:lnTo>
                    <a:pt x="2627" y="529"/>
                  </a:lnTo>
                  <a:lnTo>
                    <a:pt x="2629" y="528"/>
                  </a:lnTo>
                  <a:lnTo>
                    <a:pt x="2629" y="528"/>
                  </a:lnTo>
                  <a:lnTo>
                    <a:pt x="2629" y="526"/>
                  </a:lnTo>
                  <a:lnTo>
                    <a:pt x="2629" y="525"/>
                  </a:lnTo>
                  <a:lnTo>
                    <a:pt x="2627" y="522"/>
                  </a:lnTo>
                  <a:lnTo>
                    <a:pt x="2622" y="521"/>
                  </a:lnTo>
                  <a:lnTo>
                    <a:pt x="2622" y="519"/>
                  </a:lnTo>
                  <a:lnTo>
                    <a:pt x="2622" y="518"/>
                  </a:lnTo>
                  <a:lnTo>
                    <a:pt x="2622" y="518"/>
                  </a:lnTo>
                  <a:lnTo>
                    <a:pt x="2624" y="518"/>
                  </a:lnTo>
                  <a:lnTo>
                    <a:pt x="2625" y="518"/>
                  </a:lnTo>
                  <a:lnTo>
                    <a:pt x="2627" y="519"/>
                  </a:lnTo>
                  <a:lnTo>
                    <a:pt x="2629" y="521"/>
                  </a:lnTo>
                  <a:lnTo>
                    <a:pt x="2629" y="521"/>
                  </a:lnTo>
                  <a:lnTo>
                    <a:pt x="2631" y="519"/>
                  </a:lnTo>
                  <a:lnTo>
                    <a:pt x="2631" y="517"/>
                  </a:lnTo>
                  <a:lnTo>
                    <a:pt x="2631" y="514"/>
                  </a:lnTo>
                  <a:lnTo>
                    <a:pt x="2631" y="513"/>
                  </a:lnTo>
                  <a:lnTo>
                    <a:pt x="2631" y="513"/>
                  </a:lnTo>
                  <a:lnTo>
                    <a:pt x="2632" y="510"/>
                  </a:lnTo>
                  <a:lnTo>
                    <a:pt x="2632" y="506"/>
                  </a:lnTo>
                  <a:lnTo>
                    <a:pt x="2631" y="500"/>
                  </a:lnTo>
                  <a:lnTo>
                    <a:pt x="2629" y="497"/>
                  </a:lnTo>
                  <a:lnTo>
                    <a:pt x="2629" y="497"/>
                  </a:lnTo>
                  <a:lnTo>
                    <a:pt x="2628" y="496"/>
                  </a:lnTo>
                  <a:lnTo>
                    <a:pt x="2628" y="494"/>
                  </a:lnTo>
                  <a:lnTo>
                    <a:pt x="2631" y="494"/>
                  </a:lnTo>
                  <a:lnTo>
                    <a:pt x="2633" y="496"/>
                  </a:lnTo>
                  <a:lnTo>
                    <a:pt x="2633" y="496"/>
                  </a:lnTo>
                  <a:lnTo>
                    <a:pt x="2638" y="497"/>
                  </a:lnTo>
                  <a:lnTo>
                    <a:pt x="2643" y="499"/>
                  </a:lnTo>
                  <a:lnTo>
                    <a:pt x="2652" y="499"/>
                  </a:lnTo>
                  <a:lnTo>
                    <a:pt x="2652" y="499"/>
                  </a:lnTo>
                  <a:lnTo>
                    <a:pt x="2653" y="499"/>
                  </a:lnTo>
                  <a:lnTo>
                    <a:pt x="2653" y="497"/>
                  </a:lnTo>
                  <a:lnTo>
                    <a:pt x="2650" y="496"/>
                  </a:lnTo>
                  <a:lnTo>
                    <a:pt x="2647" y="494"/>
                  </a:lnTo>
                  <a:lnTo>
                    <a:pt x="2647" y="494"/>
                  </a:lnTo>
                  <a:lnTo>
                    <a:pt x="2646" y="494"/>
                  </a:lnTo>
                  <a:lnTo>
                    <a:pt x="2647" y="493"/>
                  </a:lnTo>
                  <a:lnTo>
                    <a:pt x="2649" y="493"/>
                  </a:lnTo>
                  <a:lnTo>
                    <a:pt x="2652" y="493"/>
                  </a:lnTo>
                  <a:lnTo>
                    <a:pt x="2652" y="493"/>
                  </a:lnTo>
                  <a:lnTo>
                    <a:pt x="2656" y="496"/>
                  </a:lnTo>
                  <a:lnTo>
                    <a:pt x="2658" y="496"/>
                  </a:lnTo>
                  <a:lnTo>
                    <a:pt x="2660" y="494"/>
                  </a:lnTo>
                  <a:lnTo>
                    <a:pt x="2660" y="494"/>
                  </a:lnTo>
                  <a:lnTo>
                    <a:pt x="2663" y="489"/>
                  </a:lnTo>
                  <a:lnTo>
                    <a:pt x="2664" y="486"/>
                  </a:lnTo>
                  <a:lnTo>
                    <a:pt x="2668" y="486"/>
                  </a:lnTo>
                  <a:lnTo>
                    <a:pt x="2668" y="486"/>
                  </a:lnTo>
                  <a:lnTo>
                    <a:pt x="2671" y="485"/>
                  </a:lnTo>
                  <a:lnTo>
                    <a:pt x="2672" y="485"/>
                  </a:lnTo>
                  <a:lnTo>
                    <a:pt x="2672" y="483"/>
                  </a:lnTo>
                  <a:lnTo>
                    <a:pt x="2670" y="482"/>
                  </a:lnTo>
                  <a:lnTo>
                    <a:pt x="2670" y="482"/>
                  </a:lnTo>
                  <a:close/>
                  <a:moveTo>
                    <a:pt x="1380" y="785"/>
                  </a:moveTo>
                  <a:lnTo>
                    <a:pt x="1380" y="785"/>
                  </a:lnTo>
                  <a:lnTo>
                    <a:pt x="1374" y="789"/>
                  </a:lnTo>
                  <a:lnTo>
                    <a:pt x="1367" y="793"/>
                  </a:lnTo>
                  <a:lnTo>
                    <a:pt x="1355" y="798"/>
                  </a:lnTo>
                  <a:lnTo>
                    <a:pt x="1344" y="803"/>
                  </a:lnTo>
                  <a:lnTo>
                    <a:pt x="1341" y="805"/>
                  </a:lnTo>
                  <a:lnTo>
                    <a:pt x="1340" y="810"/>
                  </a:lnTo>
                  <a:lnTo>
                    <a:pt x="1340" y="810"/>
                  </a:lnTo>
                  <a:lnTo>
                    <a:pt x="1338" y="812"/>
                  </a:lnTo>
                  <a:lnTo>
                    <a:pt x="1334" y="815"/>
                  </a:lnTo>
                  <a:lnTo>
                    <a:pt x="1330" y="818"/>
                  </a:lnTo>
                  <a:lnTo>
                    <a:pt x="1323" y="819"/>
                  </a:lnTo>
                  <a:lnTo>
                    <a:pt x="1312" y="821"/>
                  </a:lnTo>
                  <a:lnTo>
                    <a:pt x="1308" y="821"/>
                  </a:lnTo>
                  <a:lnTo>
                    <a:pt x="1305" y="819"/>
                  </a:lnTo>
                  <a:lnTo>
                    <a:pt x="1305" y="819"/>
                  </a:lnTo>
                  <a:lnTo>
                    <a:pt x="1305" y="818"/>
                  </a:lnTo>
                  <a:lnTo>
                    <a:pt x="1308" y="818"/>
                  </a:lnTo>
                  <a:lnTo>
                    <a:pt x="1316" y="814"/>
                  </a:lnTo>
                  <a:lnTo>
                    <a:pt x="1327" y="810"/>
                  </a:lnTo>
                  <a:lnTo>
                    <a:pt x="1331" y="805"/>
                  </a:lnTo>
                  <a:lnTo>
                    <a:pt x="1335" y="801"/>
                  </a:lnTo>
                  <a:lnTo>
                    <a:pt x="1335" y="801"/>
                  </a:lnTo>
                  <a:lnTo>
                    <a:pt x="1338" y="796"/>
                  </a:lnTo>
                  <a:lnTo>
                    <a:pt x="1342" y="792"/>
                  </a:lnTo>
                  <a:lnTo>
                    <a:pt x="1353" y="783"/>
                  </a:lnTo>
                  <a:lnTo>
                    <a:pt x="1366" y="773"/>
                  </a:lnTo>
                  <a:lnTo>
                    <a:pt x="1371" y="768"/>
                  </a:lnTo>
                  <a:lnTo>
                    <a:pt x="1377" y="761"/>
                  </a:lnTo>
                  <a:lnTo>
                    <a:pt x="1377" y="761"/>
                  </a:lnTo>
                  <a:lnTo>
                    <a:pt x="1383" y="751"/>
                  </a:lnTo>
                  <a:lnTo>
                    <a:pt x="1388" y="740"/>
                  </a:lnTo>
                  <a:lnTo>
                    <a:pt x="1392" y="732"/>
                  </a:lnTo>
                  <a:lnTo>
                    <a:pt x="1395" y="730"/>
                  </a:lnTo>
                  <a:lnTo>
                    <a:pt x="1396" y="729"/>
                  </a:lnTo>
                  <a:lnTo>
                    <a:pt x="1396" y="729"/>
                  </a:lnTo>
                  <a:lnTo>
                    <a:pt x="1398" y="732"/>
                  </a:lnTo>
                  <a:lnTo>
                    <a:pt x="1398" y="737"/>
                  </a:lnTo>
                  <a:lnTo>
                    <a:pt x="1395" y="754"/>
                  </a:lnTo>
                  <a:lnTo>
                    <a:pt x="1392" y="762"/>
                  </a:lnTo>
                  <a:lnTo>
                    <a:pt x="1388" y="772"/>
                  </a:lnTo>
                  <a:lnTo>
                    <a:pt x="1384" y="779"/>
                  </a:lnTo>
                  <a:lnTo>
                    <a:pt x="1380" y="785"/>
                  </a:lnTo>
                  <a:lnTo>
                    <a:pt x="1380" y="785"/>
                  </a:lnTo>
                  <a:close/>
                  <a:moveTo>
                    <a:pt x="1438" y="242"/>
                  </a:moveTo>
                  <a:lnTo>
                    <a:pt x="1438" y="242"/>
                  </a:lnTo>
                  <a:lnTo>
                    <a:pt x="1435" y="243"/>
                  </a:lnTo>
                  <a:lnTo>
                    <a:pt x="1431" y="246"/>
                  </a:lnTo>
                  <a:lnTo>
                    <a:pt x="1428" y="247"/>
                  </a:lnTo>
                  <a:lnTo>
                    <a:pt x="1428" y="247"/>
                  </a:lnTo>
                  <a:lnTo>
                    <a:pt x="1428" y="249"/>
                  </a:lnTo>
                  <a:lnTo>
                    <a:pt x="1428" y="249"/>
                  </a:lnTo>
                  <a:lnTo>
                    <a:pt x="1431" y="252"/>
                  </a:lnTo>
                  <a:lnTo>
                    <a:pt x="1435" y="252"/>
                  </a:lnTo>
                  <a:lnTo>
                    <a:pt x="1445" y="252"/>
                  </a:lnTo>
                  <a:lnTo>
                    <a:pt x="1453" y="249"/>
                  </a:lnTo>
                  <a:lnTo>
                    <a:pt x="1456" y="247"/>
                  </a:lnTo>
                  <a:lnTo>
                    <a:pt x="1458" y="245"/>
                  </a:lnTo>
                  <a:lnTo>
                    <a:pt x="1458" y="245"/>
                  </a:lnTo>
                  <a:lnTo>
                    <a:pt x="1456" y="242"/>
                  </a:lnTo>
                  <a:lnTo>
                    <a:pt x="1455" y="240"/>
                  </a:lnTo>
                  <a:lnTo>
                    <a:pt x="1448" y="239"/>
                  </a:lnTo>
                  <a:lnTo>
                    <a:pt x="1442" y="239"/>
                  </a:lnTo>
                  <a:lnTo>
                    <a:pt x="1440" y="240"/>
                  </a:lnTo>
                  <a:lnTo>
                    <a:pt x="1438" y="242"/>
                  </a:lnTo>
                  <a:lnTo>
                    <a:pt x="1438" y="242"/>
                  </a:lnTo>
                  <a:close/>
                  <a:moveTo>
                    <a:pt x="473" y="29"/>
                  </a:moveTo>
                  <a:lnTo>
                    <a:pt x="473" y="29"/>
                  </a:lnTo>
                  <a:lnTo>
                    <a:pt x="473" y="31"/>
                  </a:lnTo>
                  <a:lnTo>
                    <a:pt x="472" y="31"/>
                  </a:lnTo>
                  <a:lnTo>
                    <a:pt x="466" y="32"/>
                  </a:lnTo>
                  <a:lnTo>
                    <a:pt x="457" y="34"/>
                  </a:lnTo>
                  <a:lnTo>
                    <a:pt x="454" y="35"/>
                  </a:lnTo>
                  <a:lnTo>
                    <a:pt x="451" y="36"/>
                  </a:lnTo>
                  <a:lnTo>
                    <a:pt x="451" y="36"/>
                  </a:lnTo>
                  <a:lnTo>
                    <a:pt x="450" y="38"/>
                  </a:lnTo>
                  <a:lnTo>
                    <a:pt x="447" y="39"/>
                  </a:lnTo>
                  <a:lnTo>
                    <a:pt x="441" y="41"/>
                  </a:lnTo>
                  <a:lnTo>
                    <a:pt x="437" y="42"/>
                  </a:lnTo>
                  <a:lnTo>
                    <a:pt x="436" y="43"/>
                  </a:lnTo>
                  <a:lnTo>
                    <a:pt x="437" y="45"/>
                  </a:lnTo>
                  <a:lnTo>
                    <a:pt x="437" y="45"/>
                  </a:lnTo>
                  <a:lnTo>
                    <a:pt x="439" y="47"/>
                  </a:lnTo>
                  <a:lnTo>
                    <a:pt x="441" y="49"/>
                  </a:lnTo>
                  <a:lnTo>
                    <a:pt x="451" y="49"/>
                  </a:lnTo>
                  <a:lnTo>
                    <a:pt x="459" y="49"/>
                  </a:lnTo>
                  <a:lnTo>
                    <a:pt x="461" y="47"/>
                  </a:lnTo>
                  <a:lnTo>
                    <a:pt x="462" y="46"/>
                  </a:lnTo>
                  <a:lnTo>
                    <a:pt x="462" y="46"/>
                  </a:lnTo>
                  <a:lnTo>
                    <a:pt x="464" y="45"/>
                  </a:lnTo>
                  <a:lnTo>
                    <a:pt x="465" y="45"/>
                  </a:lnTo>
                  <a:lnTo>
                    <a:pt x="469" y="43"/>
                  </a:lnTo>
                  <a:lnTo>
                    <a:pt x="473" y="43"/>
                  </a:lnTo>
                  <a:lnTo>
                    <a:pt x="475" y="43"/>
                  </a:lnTo>
                  <a:lnTo>
                    <a:pt x="475" y="42"/>
                  </a:lnTo>
                  <a:lnTo>
                    <a:pt x="475" y="42"/>
                  </a:lnTo>
                  <a:lnTo>
                    <a:pt x="476" y="39"/>
                  </a:lnTo>
                  <a:lnTo>
                    <a:pt x="480" y="36"/>
                  </a:lnTo>
                  <a:lnTo>
                    <a:pt x="486" y="34"/>
                  </a:lnTo>
                  <a:lnTo>
                    <a:pt x="494" y="32"/>
                  </a:lnTo>
                  <a:lnTo>
                    <a:pt x="494" y="32"/>
                  </a:lnTo>
                  <a:lnTo>
                    <a:pt x="501" y="31"/>
                  </a:lnTo>
                  <a:lnTo>
                    <a:pt x="502" y="29"/>
                  </a:lnTo>
                  <a:lnTo>
                    <a:pt x="504" y="28"/>
                  </a:lnTo>
                  <a:lnTo>
                    <a:pt x="502" y="27"/>
                  </a:lnTo>
                  <a:lnTo>
                    <a:pt x="501" y="25"/>
                  </a:lnTo>
                  <a:lnTo>
                    <a:pt x="494" y="21"/>
                  </a:lnTo>
                  <a:lnTo>
                    <a:pt x="494" y="21"/>
                  </a:lnTo>
                  <a:lnTo>
                    <a:pt x="490" y="20"/>
                  </a:lnTo>
                  <a:lnTo>
                    <a:pt x="484" y="20"/>
                  </a:lnTo>
                  <a:lnTo>
                    <a:pt x="480" y="20"/>
                  </a:lnTo>
                  <a:lnTo>
                    <a:pt x="476" y="21"/>
                  </a:lnTo>
                  <a:lnTo>
                    <a:pt x="473" y="22"/>
                  </a:lnTo>
                  <a:lnTo>
                    <a:pt x="472" y="25"/>
                  </a:lnTo>
                  <a:lnTo>
                    <a:pt x="472" y="27"/>
                  </a:lnTo>
                  <a:lnTo>
                    <a:pt x="473" y="29"/>
                  </a:lnTo>
                  <a:lnTo>
                    <a:pt x="473" y="29"/>
                  </a:lnTo>
                  <a:close/>
                  <a:moveTo>
                    <a:pt x="595" y="13"/>
                  </a:moveTo>
                  <a:lnTo>
                    <a:pt x="595" y="13"/>
                  </a:lnTo>
                  <a:lnTo>
                    <a:pt x="601" y="11"/>
                  </a:lnTo>
                  <a:lnTo>
                    <a:pt x="604" y="10"/>
                  </a:lnTo>
                  <a:lnTo>
                    <a:pt x="607" y="7"/>
                  </a:lnTo>
                  <a:lnTo>
                    <a:pt x="611" y="7"/>
                  </a:lnTo>
                  <a:lnTo>
                    <a:pt x="611" y="7"/>
                  </a:lnTo>
                  <a:lnTo>
                    <a:pt x="616" y="7"/>
                  </a:lnTo>
                  <a:lnTo>
                    <a:pt x="622" y="7"/>
                  </a:lnTo>
                  <a:lnTo>
                    <a:pt x="625" y="6"/>
                  </a:lnTo>
                  <a:lnTo>
                    <a:pt x="625" y="4"/>
                  </a:lnTo>
                  <a:lnTo>
                    <a:pt x="625" y="3"/>
                  </a:lnTo>
                  <a:lnTo>
                    <a:pt x="625" y="3"/>
                  </a:lnTo>
                  <a:lnTo>
                    <a:pt x="622" y="2"/>
                  </a:lnTo>
                  <a:lnTo>
                    <a:pt x="618" y="0"/>
                  </a:lnTo>
                  <a:lnTo>
                    <a:pt x="608" y="0"/>
                  </a:lnTo>
                  <a:lnTo>
                    <a:pt x="598" y="2"/>
                  </a:lnTo>
                  <a:lnTo>
                    <a:pt x="597" y="3"/>
                  </a:lnTo>
                  <a:lnTo>
                    <a:pt x="597" y="4"/>
                  </a:lnTo>
                  <a:lnTo>
                    <a:pt x="597" y="4"/>
                  </a:lnTo>
                  <a:lnTo>
                    <a:pt x="595" y="4"/>
                  </a:lnTo>
                  <a:lnTo>
                    <a:pt x="594" y="6"/>
                  </a:lnTo>
                  <a:lnTo>
                    <a:pt x="587" y="7"/>
                  </a:lnTo>
                  <a:lnTo>
                    <a:pt x="579" y="7"/>
                  </a:lnTo>
                  <a:lnTo>
                    <a:pt x="575" y="7"/>
                  </a:lnTo>
                  <a:lnTo>
                    <a:pt x="575" y="7"/>
                  </a:lnTo>
                  <a:lnTo>
                    <a:pt x="577" y="10"/>
                  </a:lnTo>
                  <a:lnTo>
                    <a:pt x="582" y="11"/>
                  </a:lnTo>
                  <a:lnTo>
                    <a:pt x="587" y="13"/>
                  </a:lnTo>
                  <a:lnTo>
                    <a:pt x="595" y="13"/>
                  </a:lnTo>
                  <a:lnTo>
                    <a:pt x="595" y="13"/>
                  </a:lnTo>
                  <a:close/>
                  <a:moveTo>
                    <a:pt x="598" y="38"/>
                  </a:moveTo>
                  <a:lnTo>
                    <a:pt x="598" y="38"/>
                  </a:lnTo>
                  <a:lnTo>
                    <a:pt x="598" y="41"/>
                  </a:lnTo>
                  <a:lnTo>
                    <a:pt x="595" y="42"/>
                  </a:lnTo>
                  <a:lnTo>
                    <a:pt x="586" y="42"/>
                  </a:lnTo>
                  <a:lnTo>
                    <a:pt x="586" y="42"/>
                  </a:lnTo>
                  <a:lnTo>
                    <a:pt x="580" y="43"/>
                  </a:lnTo>
                  <a:lnTo>
                    <a:pt x="576" y="45"/>
                  </a:lnTo>
                  <a:lnTo>
                    <a:pt x="575" y="49"/>
                  </a:lnTo>
                  <a:lnTo>
                    <a:pt x="577" y="52"/>
                  </a:lnTo>
                  <a:lnTo>
                    <a:pt x="577" y="52"/>
                  </a:lnTo>
                  <a:lnTo>
                    <a:pt x="580" y="53"/>
                  </a:lnTo>
                  <a:lnTo>
                    <a:pt x="584" y="54"/>
                  </a:lnTo>
                  <a:lnTo>
                    <a:pt x="594" y="54"/>
                  </a:lnTo>
                  <a:lnTo>
                    <a:pt x="605" y="52"/>
                  </a:lnTo>
                  <a:lnTo>
                    <a:pt x="608" y="50"/>
                  </a:lnTo>
                  <a:lnTo>
                    <a:pt x="611" y="49"/>
                  </a:lnTo>
                  <a:lnTo>
                    <a:pt x="611" y="49"/>
                  </a:lnTo>
                  <a:lnTo>
                    <a:pt x="613" y="47"/>
                  </a:lnTo>
                  <a:lnTo>
                    <a:pt x="615" y="46"/>
                  </a:lnTo>
                  <a:lnTo>
                    <a:pt x="620" y="46"/>
                  </a:lnTo>
                  <a:lnTo>
                    <a:pt x="625" y="45"/>
                  </a:lnTo>
                  <a:lnTo>
                    <a:pt x="626" y="43"/>
                  </a:lnTo>
                  <a:lnTo>
                    <a:pt x="627" y="42"/>
                  </a:lnTo>
                  <a:lnTo>
                    <a:pt x="627" y="42"/>
                  </a:lnTo>
                  <a:lnTo>
                    <a:pt x="627" y="41"/>
                  </a:lnTo>
                  <a:lnTo>
                    <a:pt x="623" y="39"/>
                  </a:lnTo>
                  <a:lnTo>
                    <a:pt x="613" y="36"/>
                  </a:lnTo>
                  <a:lnTo>
                    <a:pt x="602" y="36"/>
                  </a:lnTo>
                  <a:lnTo>
                    <a:pt x="598" y="36"/>
                  </a:lnTo>
                  <a:lnTo>
                    <a:pt x="598" y="38"/>
                  </a:lnTo>
                  <a:lnTo>
                    <a:pt x="598" y="38"/>
                  </a:lnTo>
                  <a:close/>
                  <a:moveTo>
                    <a:pt x="677" y="29"/>
                  </a:moveTo>
                  <a:lnTo>
                    <a:pt x="677" y="29"/>
                  </a:lnTo>
                  <a:lnTo>
                    <a:pt x="677" y="28"/>
                  </a:lnTo>
                  <a:lnTo>
                    <a:pt x="677" y="27"/>
                  </a:lnTo>
                  <a:lnTo>
                    <a:pt x="675" y="25"/>
                  </a:lnTo>
                  <a:lnTo>
                    <a:pt x="672" y="24"/>
                  </a:lnTo>
                  <a:lnTo>
                    <a:pt x="670" y="21"/>
                  </a:lnTo>
                  <a:lnTo>
                    <a:pt x="670" y="21"/>
                  </a:lnTo>
                  <a:lnTo>
                    <a:pt x="669" y="20"/>
                  </a:lnTo>
                  <a:lnTo>
                    <a:pt x="665" y="18"/>
                  </a:lnTo>
                  <a:lnTo>
                    <a:pt x="656" y="17"/>
                  </a:lnTo>
                  <a:lnTo>
                    <a:pt x="648" y="18"/>
                  </a:lnTo>
                  <a:lnTo>
                    <a:pt x="645" y="18"/>
                  </a:lnTo>
                  <a:lnTo>
                    <a:pt x="644" y="21"/>
                  </a:lnTo>
                  <a:lnTo>
                    <a:pt x="644" y="21"/>
                  </a:lnTo>
                  <a:lnTo>
                    <a:pt x="644" y="22"/>
                  </a:lnTo>
                  <a:lnTo>
                    <a:pt x="643" y="24"/>
                  </a:lnTo>
                  <a:lnTo>
                    <a:pt x="637" y="28"/>
                  </a:lnTo>
                  <a:lnTo>
                    <a:pt x="631" y="31"/>
                  </a:lnTo>
                  <a:lnTo>
                    <a:pt x="631" y="34"/>
                  </a:lnTo>
                  <a:lnTo>
                    <a:pt x="633" y="35"/>
                  </a:lnTo>
                  <a:lnTo>
                    <a:pt x="633" y="35"/>
                  </a:lnTo>
                  <a:lnTo>
                    <a:pt x="637" y="38"/>
                  </a:lnTo>
                  <a:lnTo>
                    <a:pt x="644" y="38"/>
                  </a:lnTo>
                  <a:lnTo>
                    <a:pt x="651" y="38"/>
                  </a:lnTo>
                  <a:lnTo>
                    <a:pt x="658" y="36"/>
                  </a:lnTo>
                  <a:lnTo>
                    <a:pt x="670" y="34"/>
                  </a:lnTo>
                  <a:lnTo>
                    <a:pt x="677" y="29"/>
                  </a:lnTo>
                  <a:lnTo>
                    <a:pt x="677" y="29"/>
                  </a:lnTo>
                  <a:close/>
                  <a:moveTo>
                    <a:pt x="534" y="279"/>
                  </a:moveTo>
                  <a:lnTo>
                    <a:pt x="534" y="279"/>
                  </a:lnTo>
                  <a:lnTo>
                    <a:pt x="534" y="282"/>
                  </a:lnTo>
                  <a:lnTo>
                    <a:pt x="532" y="285"/>
                  </a:lnTo>
                  <a:lnTo>
                    <a:pt x="529" y="286"/>
                  </a:lnTo>
                  <a:lnTo>
                    <a:pt x="523" y="286"/>
                  </a:lnTo>
                  <a:lnTo>
                    <a:pt x="523" y="286"/>
                  </a:lnTo>
                  <a:lnTo>
                    <a:pt x="520" y="286"/>
                  </a:lnTo>
                  <a:lnTo>
                    <a:pt x="520" y="288"/>
                  </a:lnTo>
                  <a:lnTo>
                    <a:pt x="522" y="290"/>
                  </a:lnTo>
                  <a:lnTo>
                    <a:pt x="526" y="293"/>
                  </a:lnTo>
                  <a:lnTo>
                    <a:pt x="529" y="297"/>
                  </a:lnTo>
                  <a:lnTo>
                    <a:pt x="529" y="297"/>
                  </a:lnTo>
                  <a:lnTo>
                    <a:pt x="527" y="299"/>
                  </a:lnTo>
                  <a:lnTo>
                    <a:pt x="527" y="300"/>
                  </a:lnTo>
                  <a:lnTo>
                    <a:pt x="525" y="300"/>
                  </a:lnTo>
                  <a:lnTo>
                    <a:pt x="520" y="303"/>
                  </a:lnTo>
                  <a:lnTo>
                    <a:pt x="519" y="304"/>
                  </a:lnTo>
                  <a:lnTo>
                    <a:pt x="519" y="307"/>
                  </a:lnTo>
                  <a:lnTo>
                    <a:pt x="519" y="307"/>
                  </a:lnTo>
                  <a:lnTo>
                    <a:pt x="518" y="308"/>
                  </a:lnTo>
                  <a:lnTo>
                    <a:pt x="516" y="310"/>
                  </a:lnTo>
                  <a:lnTo>
                    <a:pt x="509" y="311"/>
                  </a:lnTo>
                  <a:lnTo>
                    <a:pt x="504" y="311"/>
                  </a:lnTo>
                  <a:lnTo>
                    <a:pt x="501" y="314"/>
                  </a:lnTo>
                  <a:lnTo>
                    <a:pt x="500" y="317"/>
                  </a:lnTo>
                  <a:lnTo>
                    <a:pt x="500" y="317"/>
                  </a:lnTo>
                  <a:lnTo>
                    <a:pt x="500" y="320"/>
                  </a:lnTo>
                  <a:lnTo>
                    <a:pt x="500" y="322"/>
                  </a:lnTo>
                  <a:lnTo>
                    <a:pt x="501" y="324"/>
                  </a:lnTo>
                  <a:lnTo>
                    <a:pt x="504" y="325"/>
                  </a:lnTo>
                  <a:lnTo>
                    <a:pt x="509" y="325"/>
                  </a:lnTo>
                  <a:lnTo>
                    <a:pt x="515" y="326"/>
                  </a:lnTo>
                  <a:lnTo>
                    <a:pt x="515" y="326"/>
                  </a:lnTo>
                  <a:lnTo>
                    <a:pt x="518" y="326"/>
                  </a:lnTo>
                  <a:lnTo>
                    <a:pt x="518" y="328"/>
                  </a:lnTo>
                  <a:lnTo>
                    <a:pt x="518" y="331"/>
                  </a:lnTo>
                  <a:lnTo>
                    <a:pt x="516" y="333"/>
                  </a:lnTo>
                  <a:lnTo>
                    <a:pt x="516" y="336"/>
                  </a:lnTo>
                  <a:lnTo>
                    <a:pt x="518" y="338"/>
                  </a:lnTo>
                  <a:lnTo>
                    <a:pt x="518" y="338"/>
                  </a:lnTo>
                  <a:lnTo>
                    <a:pt x="522" y="339"/>
                  </a:lnTo>
                  <a:lnTo>
                    <a:pt x="525" y="339"/>
                  </a:lnTo>
                  <a:lnTo>
                    <a:pt x="526" y="338"/>
                  </a:lnTo>
                  <a:lnTo>
                    <a:pt x="525" y="332"/>
                  </a:lnTo>
                  <a:lnTo>
                    <a:pt x="525" y="332"/>
                  </a:lnTo>
                  <a:lnTo>
                    <a:pt x="523" y="331"/>
                  </a:lnTo>
                  <a:lnTo>
                    <a:pt x="526" y="329"/>
                  </a:lnTo>
                  <a:lnTo>
                    <a:pt x="532" y="332"/>
                  </a:lnTo>
                  <a:lnTo>
                    <a:pt x="534" y="333"/>
                  </a:lnTo>
                  <a:lnTo>
                    <a:pt x="537" y="336"/>
                  </a:lnTo>
                  <a:lnTo>
                    <a:pt x="537" y="339"/>
                  </a:lnTo>
                  <a:lnTo>
                    <a:pt x="537" y="342"/>
                  </a:lnTo>
                  <a:lnTo>
                    <a:pt x="537" y="342"/>
                  </a:lnTo>
                  <a:lnTo>
                    <a:pt x="534" y="343"/>
                  </a:lnTo>
                  <a:lnTo>
                    <a:pt x="536" y="346"/>
                  </a:lnTo>
                  <a:lnTo>
                    <a:pt x="537" y="347"/>
                  </a:lnTo>
                  <a:lnTo>
                    <a:pt x="540" y="349"/>
                  </a:lnTo>
                  <a:lnTo>
                    <a:pt x="548" y="351"/>
                  </a:lnTo>
                  <a:lnTo>
                    <a:pt x="557" y="353"/>
                  </a:lnTo>
                  <a:lnTo>
                    <a:pt x="557" y="353"/>
                  </a:lnTo>
                  <a:lnTo>
                    <a:pt x="580" y="356"/>
                  </a:lnTo>
                  <a:lnTo>
                    <a:pt x="591" y="356"/>
                  </a:lnTo>
                  <a:lnTo>
                    <a:pt x="595" y="354"/>
                  </a:lnTo>
                  <a:lnTo>
                    <a:pt x="597" y="353"/>
                  </a:lnTo>
                  <a:lnTo>
                    <a:pt x="597" y="353"/>
                  </a:lnTo>
                  <a:lnTo>
                    <a:pt x="597" y="350"/>
                  </a:lnTo>
                  <a:lnTo>
                    <a:pt x="595" y="349"/>
                  </a:lnTo>
                  <a:lnTo>
                    <a:pt x="590" y="345"/>
                  </a:lnTo>
                  <a:lnTo>
                    <a:pt x="583" y="340"/>
                  </a:lnTo>
                  <a:lnTo>
                    <a:pt x="576" y="333"/>
                  </a:lnTo>
                  <a:lnTo>
                    <a:pt x="576" y="333"/>
                  </a:lnTo>
                  <a:lnTo>
                    <a:pt x="569" y="325"/>
                  </a:lnTo>
                  <a:lnTo>
                    <a:pt x="565" y="315"/>
                  </a:lnTo>
                  <a:lnTo>
                    <a:pt x="565" y="311"/>
                  </a:lnTo>
                  <a:lnTo>
                    <a:pt x="565" y="306"/>
                  </a:lnTo>
                  <a:lnTo>
                    <a:pt x="566" y="303"/>
                  </a:lnTo>
                  <a:lnTo>
                    <a:pt x="570" y="300"/>
                  </a:lnTo>
                  <a:lnTo>
                    <a:pt x="570" y="300"/>
                  </a:lnTo>
                  <a:lnTo>
                    <a:pt x="573" y="297"/>
                  </a:lnTo>
                  <a:lnTo>
                    <a:pt x="576" y="295"/>
                  </a:lnTo>
                  <a:lnTo>
                    <a:pt x="576" y="290"/>
                  </a:lnTo>
                  <a:lnTo>
                    <a:pt x="577" y="286"/>
                  </a:lnTo>
                  <a:lnTo>
                    <a:pt x="580" y="285"/>
                  </a:lnTo>
                  <a:lnTo>
                    <a:pt x="583" y="282"/>
                  </a:lnTo>
                  <a:lnTo>
                    <a:pt x="583" y="282"/>
                  </a:lnTo>
                  <a:lnTo>
                    <a:pt x="586" y="278"/>
                  </a:lnTo>
                  <a:lnTo>
                    <a:pt x="588" y="275"/>
                  </a:lnTo>
                  <a:lnTo>
                    <a:pt x="590" y="271"/>
                  </a:lnTo>
                  <a:lnTo>
                    <a:pt x="593" y="267"/>
                  </a:lnTo>
                  <a:lnTo>
                    <a:pt x="594" y="265"/>
                  </a:lnTo>
                  <a:lnTo>
                    <a:pt x="597" y="265"/>
                  </a:lnTo>
                  <a:lnTo>
                    <a:pt x="597" y="265"/>
                  </a:lnTo>
                  <a:lnTo>
                    <a:pt x="600" y="264"/>
                  </a:lnTo>
                  <a:lnTo>
                    <a:pt x="601" y="264"/>
                  </a:lnTo>
                  <a:lnTo>
                    <a:pt x="601" y="260"/>
                  </a:lnTo>
                  <a:lnTo>
                    <a:pt x="601" y="257"/>
                  </a:lnTo>
                  <a:lnTo>
                    <a:pt x="602" y="256"/>
                  </a:lnTo>
                  <a:lnTo>
                    <a:pt x="605" y="254"/>
                  </a:lnTo>
                  <a:lnTo>
                    <a:pt x="605" y="254"/>
                  </a:lnTo>
                  <a:lnTo>
                    <a:pt x="608" y="254"/>
                  </a:lnTo>
                  <a:lnTo>
                    <a:pt x="611" y="252"/>
                  </a:lnTo>
                  <a:lnTo>
                    <a:pt x="613" y="247"/>
                  </a:lnTo>
                  <a:lnTo>
                    <a:pt x="615" y="243"/>
                  </a:lnTo>
                  <a:lnTo>
                    <a:pt x="615" y="239"/>
                  </a:lnTo>
                  <a:lnTo>
                    <a:pt x="615" y="239"/>
                  </a:lnTo>
                  <a:lnTo>
                    <a:pt x="615" y="238"/>
                  </a:lnTo>
                  <a:lnTo>
                    <a:pt x="616" y="238"/>
                  </a:lnTo>
                  <a:lnTo>
                    <a:pt x="619" y="238"/>
                  </a:lnTo>
                  <a:lnTo>
                    <a:pt x="625" y="236"/>
                  </a:lnTo>
                  <a:lnTo>
                    <a:pt x="627" y="236"/>
                  </a:lnTo>
                  <a:lnTo>
                    <a:pt x="630" y="235"/>
                  </a:lnTo>
                  <a:lnTo>
                    <a:pt x="630" y="235"/>
                  </a:lnTo>
                  <a:lnTo>
                    <a:pt x="631" y="232"/>
                  </a:lnTo>
                  <a:lnTo>
                    <a:pt x="634" y="232"/>
                  </a:lnTo>
                  <a:lnTo>
                    <a:pt x="640" y="231"/>
                  </a:lnTo>
                  <a:lnTo>
                    <a:pt x="647" y="228"/>
                  </a:lnTo>
                  <a:lnTo>
                    <a:pt x="648" y="227"/>
                  </a:lnTo>
                  <a:lnTo>
                    <a:pt x="651" y="225"/>
                  </a:lnTo>
                  <a:lnTo>
                    <a:pt x="651" y="225"/>
                  </a:lnTo>
                  <a:lnTo>
                    <a:pt x="654" y="221"/>
                  </a:lnTo>
                  <a:lnTo>
                    <a:pt x="661" y="217"/>
                  </a:lnTo>
                  <a:lnTo>
                    <a:pt x="684" y="207"/>
                  </a:lnTo>
                  <a:lnTo>
                    <a:pt x="712" y="199"/>
                  </a:lnTo>
                  <a:lnTo>
                    <a:pt x="737" y="192"/>
                  </a:lnTo>
                  <a:lnTo>
                    <a:pt x="737" y="192"/>
                  </a:lnTo>
                  <a:lnTo>
                    <a:pt x="758" y="185"/>
                  </a:lnTo>
                  <a:lnTo>
                    <a:pt x="766" y="182"/>
                  </a:lnTo>
                  <a:lnTo>
                    <a:pt x="773" y="178"/>
                  </a:lnTo>
                  <a:lnTo>
                    <a:pt x="777" y="175"/>
                  </a:lnTo>
                  <a:lnTo>
                    <a:pt x="780" y="171"/>
                  </a:lnTo>
                  <a:lnTo>
                    <a:pt x="780" y="167"/>
                  </a:lnTo>
                  <a:lnTo>
                    <a:pt x="777" y="164"/>
                  </a:lnTo>
                  <a:lnTo>
                    <a:pt x="777" y="164"/>
                  </a:lnTo>
                  <a:lnTo>
                    <a:pt x="773" y="161"/>
                  </a:lnTo>
                  <a:lnTo>
                    <a:pt x="766" y="161"/>
                  </a:lnTo>
                  <a:lnTo>
                    <a:pt x="759" y="161"/>
                  </a:lnTo>
                  <a:lnTo>
                    <a:pt x="752" y="163"/>
                  </a:lnTo>
                  <a:lnTo>
                    <a:pt x="738" y="168"/>
                  </a:lnTo>
                  <a:lnTo>
                    <a:pt x="730" y="174"/>
                  </a:lnTo>
                  <a:lnTo>
                    <a:pt x="730" y="174"/>
                  </a:lnTo>
                  <a:lnTo>
                    <a:pt x="726" y="175"/>
                  </a:lnTo>
                  <a:lnTo>
                    <a:pt x="723" y="177"/>
                  </a:lnTo>
                  <a:lnTo>
                    <a:pt x="716" y="177"/>
                  </a:lnTo>
                  <a:lnTo>
                    <a:pt x="711" y="178"/>
                  </a:lnTo>
                  <a:lnTo>
                    <a:pt x="704" y="179"/>
                  </a:lnTo>
                  <a:lnTo>
                    <a:pt x="704" y="179"/>
                  </a:lnTo>
                  <a:lnTo>
                    <a:pt x="697" y="182"/>
                  </a:lnTo>
                  <a:lnTo>
                    <a:pt x="688" y="184"/>
                  </a:lnTo>
                  <a:lnTo>
                    <a:pt x="680" y="185"/>
                  </a:lnTo>
                  <a:lnTo>
                    <a:pt x="676" y="184"/>
                  </a:lnTo>
                  <a:lnTo>
                    <a:pt x="673" y="182"/>
                  </a:lnTo>
                  <a:lnTo>
                    <a:pt x="673" y="182"/>
                  </a:lnTo>
                  <a:lnTo>
                    <a:pt x="670" y="181"/>
                  </a:lnTo>
                  <a:lnTo>
                    <a:pt x="666" y="181"/>
                  </a:lnTo>
                  <a:lnTo>
                    <a:pt x="661" y="184"/>
                  </a:lnTo>
                  <a:lnTo>
                    <a:pt x="655" y="186"/>
                  </a:lnTo>
                  <a:lnTo>
                    <a:pt x="650" y="188"/>
                  </a:lnTo>
                  <a:lnTo>
                    <a:pt x="650" y="188"/>
                  </a:lnTo>
                  <a:lnTo>
                    <a:pt x="645" y="188"/>
                  </a:lnTo>
                  <a:lnTo>
                    <a:pt x="640" y="190"/>
                  </a:lnTo>
                  <a:lnTo>
                    <a:pt x="636" y="192"/>
                  </a:lnTo>
                  <a:lnTo>
                    <a:pt x="630" y="193"/>
                  </a:lnTo>
                  <a:lnTo>
                    <a:pt x="630" y="193"/>
                  </a:lnTo>
                  <a:lnTo>
                    <a:pt x="625" y="193"/>
                  </a:lnTo>
                  <a:lnTo>
                    <a:pt x="618" y="196"/>
                  </a:lnTo>
                  <a:lnTo>
                    <a:pt x="612" y="199"/>
                  </a:lnTo>
                  <a:lnTo>
                    <a:pt x="611" y="202"/>
                  </a:lnTo>
                  <a:lnTo>
                    <a:pt x="611" y="202"/>
                  </a:lnTo>
                  <a:lnTo>
                    <a:pt x="608" y="204"/>
                  </a:lnTo>
                  <a:lnTo>
                    <a:pt x="604" y="206"/>
                  </a:lnTo>
                  <a:lnTo>
                    <a:pt x="600" y="207"/>
                  </a:lnTo>
                  <a:lnTo>
                    <a:pt x="598" y="207"/>
                  </a:lnTo>
                  <a:lnTo>
                    <a:pt x="598" y="210"/>
                  </a:lnTo>
                  <a:lnTo>
                    <a:pt x="598" y="210"/>
                  </a:lnTo>
                  <a:lnTo>
                    <a:pt x="597" y="213"/>
                  </a:lnTo>
                  <a:lnTo>
                    <a:pt x="593" y="215"/>
                  </a:lnTo>
                  <a:lnTo>
                    <a:pt x="588" y="215"/>
                  </a:lnTo>
                  <a:lnTo>
                    <a:pt x="584" y="214"/>
                  </a:lnTo>
                  <a:lnTo>
                    <a:pt x="584" y="214"/>
                  </a:lnTo>
                  <a:lnTo>
                    <a:pt x="583" y="213"/>
                  </a:lnTo>
                  <a:lnTo>
                    <a:pt x="582" y="213"/>
                  </a:lnTo>
                  <a:lnTo>
                    <a:pt x="579" y="215"/>
                  </a:lnTo>
                  <a:lnTo>
                    <a:pt x="579" y="220"/>
                  </a:lnTo>
                  <a:lnTo>
                    <a:pt x="579" y="222"/>
                  </a:lnTo>
                  <a:lnTo>
                    <a:pt x="582" y="225"/>
                  </a:lnTo>
                  <a:lnTo>
                    <a:pt x="582" y="225"/>
                  </a:lnTo>
                  <a:lnTo>
                    <a:pt x="583" y="227"/>
                  </a:lnTo>
                  <a:lnTo>
                    <a:pt x="582" y="228"/>
                  </a:lnTo>
                  <a:lnTo>
                    <a:pt x="577" y="231"/>
                  </a:lnTo>
                  <a:lnTo>
                    <a:pt x="573" y="232"/>
                  </a:lnTo>
                  <a:lnTo>
                    <a:pt x="572" y="233"/>
                  </a:lnTo>
                  <a:lnTo>
                    <a:pt x="572" y="235"/>
                  </a:lnTo>
                  <a:lnTo>
                    <a:pt x="572" y="235"/>
                  </a:lnTo>
                  <a:lnTo>
                    <a:pt x="573" y="236"/>
                  </a:lnTo>
                  <a:lnTo>
                    <a:pt x="572" y="238"/>
                  </a:lnTo>
                  <a:lnTo>
                    <a:pt x="570" y="239"/>
                  </a:lnTo>
                  <a:lnTo>
                    <a:pt x="568" y="242"/>
                  </a:lnTo>
                  <a:lnTo>
                    <a:pt x="568" y="243"/>
                  </a:lnTo>
                  <a:lnTo>
                    <a:pt x="568" y="245"/>
                  </a:lnTo>
                  <a:lnTo>
                    <a:pt x="568" y="245"/>
                  </a:lnTo>
                  <a:lnTo>
                    <a:pt x="568" y="246"/>
                  </a:lnTo>
                  <a:lnTo>
                    <a:pt x="568" y="247"/>
                  </a:lnTo>
                  <a:lnTo>
                    <a:pt x="565" y="249"/>
                  </a:lnTo>
                  <a:lnTo>
                    <a:pt x="554" y="252"/>
                  </a:lnTo>
                  <a:lnTo>
                    <a:pt x="554" y="252"/>
                  </a:lnTo>
                  <a:lnTo>
                    <a:pt x="550" y="254"/>
                  </a:lnTo>
                  <a:lnTo>
                    <a:pt x="547" y="257"/>
                  </a:lnTo>
                  <a:lnTo>
                    <a:pt x="547" y="260"/>
                  </a:lnTo>
                  <a:lnTo>
                    <a:pt x="548" y="261"/>
                  </a:lnTo>
                  <a:lnTo>
                    <a:pt x="550" y="263"/>
                  </a:lnTo>
                  <a:lnTo>
                    <a:pt x="552" y="263"/>
                  </a:lnTo>
                  <a:lnTo>
                    <a:pt x="552" y="263"/>
                  </a:lnTo>
                  <a:lnTo>
                    <a:pt x="555" y="264"/>
                  </a:lnTo>
                  <a:lnTo>
                    <a:pt x="554" y="265"/>
                  </a:lnTo>
                  <a:lnTo>
                    <a:pt x="550" y="267"/>
                  </a:lnTo>
                  <a:lnTo>
                    <a:pt x="548" y="270"/>
                  </a:lnTo>
                  <a:lnTo>
                    <a:pt x="548" y="272"/>
                  </a:lnTo>
                  <a:lnTo>
                    <a:pt x="548" y="272"/>
                  </a:lnTo>
                  <a:lnTo>
                    <a:pt x="548" y="274"/>
                  </a:lnTo>
                  <a:lnTo>
                    <a:pt x="547" y="275"/>
                  </a:lnTo>
                  <a:lnTo>
                    <a:pt x="541" y="277"/>
                  </a:lnTo>
                  <a:lnTo>
                    <a:pt x="536" y="277"/>
                  </a:lnTo>
                  <a:lnTo>
                    <a:pt x="534" y="278"/>
                  </a:lnTo>
                  <a:lnTo>
                    <a:pt x="534" y="279"/>
                  </a:lnTo>
                  <a:lnTo>
                    <a:pt x="534" y="279"/>
                  </a:lnTo>
                  <a:close/>
                  <a:moveTo>
                    <a:pt x="538" y="45"/>
                  </a:moveTo>
                  <a:lnTo>
                    <a:pt x="538" y="45"/>
                  </a:lnTo>
                  <a:lnTo>
                    <a:pt x="537" y="42"/>
                  </a:lnTo>
                  <a:lnTo>
                    <a:pt x="534" y="41"/>
                  </a:lnTo>
                  <a:lnTo>
                    <a:pt x="526" y="42"/>
                  </a:lnTo>
                  <a:lnTo>
                    <a:pt x="519" y="45"/>
                  </a:lnTo>
                  <a:lnTo>
                    <a:pt x="518" y="46"/>
                  </a:lnTo>
                  <a:lnTo>
                    <a:pt x="519" y="46"/>
                  </a:lnTo>
                  <a:lnTo>
                    <a:pt x="519" y="46"/>
                  </a:lnTo>
                  <a:lnTo>
                    <a:pt x="523" y="47"/>
                  </a:lnTo>
                  <a:lnTo>
                    <a:pt x="530" y="49"/>
                  </a:lnTo>
                  <a:lnTo>
                    <a:pt x="536" y="47"/>
                  </a:lnTo>
                  <a:lnTo>
                    <a:pt x="537" y="46"/>
                  </a:lnTo>
                  <a:lnTo>
                    <a:pt x="538" y="45"/>
                  </a:lnTo>
                  <a:lnTo>
                    <a:pt x="538" y="45"/>
                  </a:lnTo>
                  <a:close/>
                  <a:moveTo>
                    <a:pt x="604" y="22"/>
                  </a:moveTo>
                  <a:lnTo>
                    <a:pt x="604" y="22"/>
                  </a:lnTo>
                  <a:lnTo>
                    <a:pt x="602" y="18"/>
                  </a:lnTo>
                  <a:lnTo>
                    <a:pt x="601" y="17"/>
                  </a:lnTo>
                  <a:lnTo>
                    <a:pt x="595" y="17"/>
                  </a:lnTo>
                  <a:lnTo>
                    <a:pt x="586" y="17"/>
                  </a:lnTo>
                  <a:lnTo>
                    <a:pt x="582" y="17"/>
                  </a:lnTo>
                  <a:lnTo>
                    <a:pt x="576" y="16"/>
                  </a:lnTo>
                  <a:lnTo>
                    <a:pt x="576" y="16"/>
                  </a:lnTo>
                  <a:lnTo>
                    <a:pt x="568" y="13"/>
                  </a:lnTo>
                  <a:lnTo>
                    <a:pt x="563" y="11"/>
                  </a:lnTo>
                  <a:lnTo>
                    <a:pt x="562" y="13"/>
                  </a:lnTo>
                  <a:lnTo>
                    <a:pt x="562" y="13"/>
                  </a:lnTo>
                  <a:lnTo>
                    <a:pt x="565" y="17"/>
                  </a:lnTo>
                  <a:lnTo>
                    <a:pt x="565" y="17"/>
                  </a:lnTo>
                  <a:lnTo>
                    <a:pt x="565" y="18"/>
                  </a:lnTo>
                  <a:lnTo>
                    <a:pt x="563" y="20"/>
                  </a:lnTo>
                  <a:lnTo>
                    <a:pt x="557" y="22"/>
                  </a:lnTo>
                  <a:lnTo>
                    <a:pt x="550" y="24"/>
                  </a:lnTo>
                  <a:lnTo>
                    <a:pt x="548" y="25"/>
                  </a:lnTo>
                  <a:lnTo>
                    <a:pt x="548" y="27"/>
                  </a:lnTo>
                  <a:lnTo>
                    <a:pt x="548" y="27"/>
                  </a:lnTo>
                  <a:lnTo>
                    <a:pt x="554" y="29"/>
                  </a:lnTo>
                  <a:lnTo>
                    <a:pt x="561" y="31"/>
                  </a:lnTo>
                  <a:lnTo>
                    <a:pt x="569" y="32"/>
                  </a:lnTo>
                  <a:lnTo>
                    <a:pt x="579" y="31"/>
                  </a:lnTo>
                  <a:lnTo>
                    <a:pt x="587" y="29"/>
                  </a:lnTo>
                  <a:lnTo>
                    <a:pt x="595" y="28"/>
                  </a:lnTo>
                  <a:lnTo>
                    <a:pt x="601" y="25"/>
                  </a:lnTo>
                  <a:lnTo>
                    <a:pt x="602" y="24"/>
                  </a:lnTo>
                  <a:lnTo>
                    <a:pt x="604" y="22"/>
                  </a:lnTo>
                  <a:lnTo>
                    <a:pt x="604" y="2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47" name="Freeform 169"/>
            <p:cNvSpPr>
              <a:spLocks/>
            </p:cNvSpPr>
            <p:nvPr/>
          </p:nvSpPr>
          <p:spPr bwMode="auto">
            <a:xfrm>
              <a:off x="6272213" y="2905125"/>
              <a:ext cx="188913" cy="125413"/>
            </a:xfrm>
            <a:custGeom>
              <a:avLst/>
              <a:gdLst>
                <a:gd name="T0" fmla="*/ 100 w 119"/>
                <a:gd name="T1" fmla="*/ 68 h 79"/>
                <a:gd name="T2" fmla="*/ 103 w 119"/>
                <a:gd name="T3" fmla="*/ 69 h 79"/>
                <a:gd name="T4" fmla="*/ 114 w 119"/>
                <a:gd name="T5" fmla="*/ 72 h 79"/>
                <a:gd name="T6" fmla="*/ 117 w 119"/>
                <a:gd name="T7" fmla="*/ 51 h 79"/>
                <a:gd name="T8" fmla="*/ 114 w 119"/>
                <a:gd name="T9" fmla="*/ 47 h 79"/>
                <a:gd name="T10" fmla="*/ 99 w 119"/>
                <a:gd name="T11" fmla="*/ 28 h 79"/>
                <a:gd name="T12" fmla="*/ 82 w 119"/>
                <a:gd name="T13" fmla="*/ 29 h 79"/>
                <a:gd name="T14" fmla="*/ 75 w 119"/>
                <a:gd name="T15" fmla="*/ 28 h 79"/>
                <a:gd name="T16" fmla="*/ 65 w 119"/>
                <a:gd name="T17" fmla="*/ 26 h 79"/>
                <a:gd name="T18" fmla="*/ 63 w 119"/>
                <a:gd name="T19" fmla="*/ 25 h 79"/>
                <a:gd name="T20" fmla="*/ 53 w 119"/>
                <a:gd name="T21" fmla="*/ 26 h 79"/>
                <a:gd name="T22" fmla="*/ 49 w 119"/>
                <a:gd name="T23" fmla="*/ 25 h 79"/>
                <a:gd name="T24" fmla="*/ 32 w 119"/>
                <a:gd name="T25" fmla="*/ 25 h 79"/>
                <a:gd name="T26" fmla="*/ 28 w 119"/>
                <a:gd name="T27" fmla="*/ 23 h 79"/>
                <a:gd name="T28" fmla="*/ 36 w 119"/>
                <a:gd name="T29" fmla="*/ 15 h 79"/>
                <a:gd name="T30" fmla="*/ 44 w 119"/>
                <a:gd name="T31" fmla="*/ 14 h 79"/>
                <a:gd name="T32" fmla="*/ 50 w 119"/>
                <a:gd name="T33" fmla="*/ 4 h 79"/>
                <a:gd name="T34" fmla="*/ 49 w 119"/>
                <a:gd name="T35" fmla="*/ 0 h 79"/>
                <a:gd name="T36" fmla="*/ 39 w 119"/>
                <a:gd name="T37" fmla="*/ 4 h 79"/>
                <a:gd name="T38" fmla="*/ 29 w 119"/>
                <a:gd name="T39" fmla="*/ 5 h 79"/>
                <a:gd name="T40" fmla="*/ 25 w 119"/>
                <a:gd name="T41" fmla="*/ 12 h 79"/>
                <a:gd name="T42" fmla="*/ 19 w 119"/>
                <a:gd name="T43" fmla="*/ 15 h 79"/>
                <a:gd name="T44" fmla="*/ 17 w 119"/>
                <a:gd name="T45" fmla="*/ 22 h 79"/>
                <a:gd name="T46" fmla="*/ 6 w 119"/>
                <a:gd name="T47" fmla="*/ 26 h 79"/>
                <a:gd name="T48" fmla="*/ 0 w 119"/>
                <a:gd name="T49" fmla="*/ 29 h 79"/>
                <a:gd name="T50" fmla="*/ 4 w 119"/>
                <a:gd name="T51" fmla="*/ 35 h 79"/>
                <a:gd name="T52" fmla="*/ 10 w 119"/>
                <a:gd name="T53" fmla="*/ 42 h 79"/>
                <a:gd name="T54" fmla="*/ 11 w 119"/>
                <a:gd name="T55" fmla="*/ 48 h 79"/>
                <a:gd name="T56" fmla="*/ 11 w 119"/>
                <a:gd name="T57" fmla="*/ 55 h 79"/>
                <a:gd name="T58" fmla="*/ 7 w 119"/>
                <a:gd name="T59" fmla="*/ 61 h 79"/>
                <a:gd name="T60" fmla="*/ 6 w 119"/>
                <a:gd name="T61" fmla="*/ 72 h 79"/>
                <a:gd name="T62" fmla="*/ 13 w 119"/>
                <a:gd name="T63" fmla="*/ 72 h 79"/>
                <a:gd name="T64" fmla="*/ 15 w 119"/>
                <a:gd name="T65" fmla="*/ 71 h 79"/>
                <a:gd name="T66" fmla="*/ 28 w 119"/>
                <a:gd name="T67" fmla="*/ 69 h 79"/>
                <a:gd name="T68" fmla="*/ 29 w 119"/>
                <a:gd name="T69" fmla="*/ 67 h 79"/>
                <a:gd name="T70" fmla="*/ 40 w 119"/>
                <a:gd name="T71" fmla="*/ 62 h 79"/>
                <a:gd name="T72" fmla="*/ 43 w 119"/>
                <a:gd name="T73" fmla="*/ 61 h 79"/>
                <a:gd name="T74" fmla="*/ 53 w 119"/>
                <a:gd name="T75" fmla="*/ 48 h 79"/>
                <a:gd name="T76" fmla="*/ 58 w 119"/>
                <a:gd name="T77" fmla="*/ 47 h 79"/>
                <a:gd name="T78" fmla="*/ 61 w 119"/>
                <a:gd name="T79" fmla="*/ 57 h 79"/>
                <a:gd name="T80" fmla="*/ 64 w 119"/>
                <a:gd name="T81" fmla="*/ 60 h 79"/>
                <a:gd name="T82" fmla="*/ 65 w 119"/>
                <a:gd name="T83" fmla="*/ 69 h 79"/>
                <a:gd name="T84" fmla="*/ 64 w 119"/>
                <a:gd name="T85" fmla="*/ 79 h 79"/>
                <a:gd name="T86" fmla="*/ 72 w 119"/>
                <a:gd name="T87" fmla="*/ 79 h 79"/>
                <a:gd name="T88" fmla="*/ 81 w 119"/>
                <a:gd name="T89" fmla="*/ 76 h 79"/>
                <a:gd name="T90" fmla="*/ 97 w 119"/>
                <a:gd name="T91" fmla="*/ 6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9" h="79">
                  <a:moveTo>
                    <a:pt x="97" y="65"/>
                  </a:moveTo>
                  <a:lnTo>
                    <a:pt x="97" y="65"/>
                  </a:lnTo>
                  <a:lnTo>
                    <a:pt x="100" y="68"/>
                  </a:lnTo>
                  <a:lnTo>
                    <a:pt x="101" y="69"/>
                  </a:lnTo>
                  <a:lnTo>
                    <a:pt x="103" y="69"/>
                  </a:lnTo>
                  <a:lnTo>
                    <a:pt x="103" y="69"/>
                  </a:lnTo>
                  <a:lnTo>
                    <a:pt x="108" y="69"/>
                  </a:lnTo>
                  <a:lnTo>
                    <a:pt x="114" y="72"/>
                  </a:lnTo>
                  <a:lnTo>
                    <a:pt x="114" y="72"/>
                  </a:lnTo>
                  <a:lnTo>
                    <a:pt x="119" y="72"/>
                  </a:lnTo>
                  <a:lnTo>
                    <a:pt x="119" y="72"/>
                  </a:lnTo>
                  <a:lnTo>
                    <a:pt x="117" y="51"/>
                  </a:lnTo>
                  <a:lnTo>
                    <a:pt x="117" y="51"/>
                  </a:lnTo>
                  <a:lnTo>
                    <a:pt x="115" y="48"/>
                  </a:lnTo>
                  <a:lnTo>
                    <a:pt x="114" y="47"/>
                  </a:lnTo>
                  <a:lnTo>
                    <a:pt x="108" y="44"/>
                  </a:lnTo>
                  <a:lnTo>
                    <a:pt x="100" y="42"/>
                  </a:lnTo>
                  <a:lnTo>
                    <a:pt x="99" y="28"/>
                  </a:lnTo>
                  <a:lnTo>
                    <a:pt x="99" y="28"/>
                  </a:lnTo>
                  <a:lnTo>
                    <a:pt x="89" y="28"/>
                  </a:lnTo>
                  <a:lnTo>
                    <a:pt x="82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5" y="28"/>
                  </a:lnTo>
                  <a:lnTo>
                    <a:pt x="71" y="29"/>
                  </a:lnTo>
                  <a:lnTo>
                    <a:pt x="68" y="28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4" y="25"/>
                  </a:lnTo>
                  <a:lnTo>
                    <a:pt x="63" y="25"/>
                  </a:lnTo>
                  <a:lnTo>
                    <a:pt x="58" y="25"/>
                  </a:lnTo>
                  <a:lnTo>
                    <a:pt x="54" y="26"/>
                  </a:lnTo>
                  <a:lnTo>
                    <a:pt x="53" y="26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49" y="25"/>
                  </a:lnTo>
                  <a:lnTo>
                    <a:pt x="44" y="23"/>
                  </a:lnTo>
                  <a:lnTo>
                    <a:pt x="38" y="25"/>
                  </a:lnTo>
                  <a:lnTo>
                    <a:pt x="32" y="25"/>
                  </a:lnTo>
                  <a:lnTo>
                    <a:pt x="29" y="25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9" y="21"/>
                  </a:lnTo>
                  <a:lnTo>
                    <a:pt x="32" y="18"/>
                  </a:lnTo>
                  <a:lnTo>
                    <a:pt x="36" y="15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9" y="7"/>
                  </a:lnTo>
                  <a:lnTo>
                    <a:pt x="50" y="4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49" y="0"/>
                  </a:lnTo>
                  <a:lnTo>
                    <a:pt x="46" y="1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6" y="5"/>
                  </a:lnTo>
                  <a:lnTo>
                    <a:pt x="32" y="5"/>
                  </a:lnTo>
                  <a:lnTo>
                    <a:pt x="29" y="5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5" y="12"/>
                  </a:lnTo>
                  <a:lnTo>
                    <a:pt x="22" y="14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8" y="17"/>
                  </a:lnTo>
                  <a:lnTo>
                    <a:pt x="17" y="19"/>
                  </a:lnTo>
                  <a:lnTo>
                    <a:pt x="17" y="22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6" y="26"/>
                  </a:lnTo>
                  <a:lnTo>
                    <a:pt x="1" y="28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30"/>
                  </a:lnTo>
                  <a:lnTo>
                    <a:pt x="1" y="32"/>
                  </a:lnTo>
                  <a:lnTo>
                    <a:pt x="4" y="35"/>
                  </a:lnTo>
                  <a:lnTo>
                    <a:pt x="8" y="37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6"/>
                  </a:lnTo>
                  <a:lnTo>
                    <a:pt x="11" y="48"/>
                  </a:lnTo>
                  <a:lnTo>
                    <a:pt x="13" y="53"/>
                  </a:lnTo>
                  <a:lnTo>
                    <a:pt x="13" y="54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8" y="58"/>
                  </a:lnTo>
                  <a:lnTo>
                    <a:pt x="7" y="61"/>
                  </a:lnTo>
                  <a:lnTo>
                    <a:pt x="6" y="65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10" y="73"/>
                  </a:lnTo>
                  <a:lnTo>
                    <a:pt x="11" y="73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4" y="71"/>
                  </a:lnTo>
                  <a:lnTo>
                    <a:pt x="15" y="71"/>
                  </a:lnTo>
                  <a:lnTo>
                    <a:pt x="21" y="69"/>
                  </a:lnTo>
                  <a:lnTo>
                    <a:pt x="26" y="69"/>
                  </a:lnTo>
                  <a:lnTo>
                    <a:pt x="28" y="69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9" y="67"/>
                  </a:lnTo>
                  <a:lnTo>
                    <a:pt x="31" y="65"/>
                  </a:lnTo>
                  <a:lnTo>
                    <a:pt x="36" y="64"/>
                  </a:lnTo>
                  <a:lnTo>
                    <a:pt x="40" y="62"/>
                  </a:lnTo>
                  <a:lnTo>
                    <a:pt x="43" y="62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4" y="57"/>
                  </a:lnTo>
                  <a:lnTo>
                    <a:pt x="49" y="53"/>
                  </a:lnTo>
                  <a:lnTo>
                    <a:pt x="53" y="48"/>
                  </a:lnTo>
                  <a:lnTo>
                    <a:pt x="57" y="47"/>
                  </a:lnTo>
                  <a:lnTo>
                    <a:pt x="57" y="47"/>
                  </a:lnTo>
                  <a:lnTo>
                    <a:pt x="58" y="47"/>
                  </a:lnTo>
                  <a:lnTo>
                    <a:pt x="60" y="48"/>
                  </a:lnTo>
                  <a:lnTo>
                    <a:pt x="60" y="53"/>
                  </a:lnTo>
                  <a:lnTo>
                    <a:pt x="61" y="57"/>
                  </a:lnTo>
                  <a:lnTo>
                    <a:pt x="61" y="58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5" y="61"/>
                  </a:lnTo>
                  <a:lnTo>
                    <a:pt x="67" y="64"/>
                  </a:lnTo>
                  <a:lnTo>
                    <a:pt x="65" y="69"/>
                  </a:lnTo>
                  <a:lnTo>
                    <a:pt x="64" y="75"/>
                  </a:lnTo>
                  <a:lnTo>
                    <a:pt x="64" y="76"/>
                  </a:lnTo>
                  <a:lnTo>
                    <a:pt x="64" y="79"/>
                  </a:lnTo>
                  <a:lnTo>
                    <a:pt x="64" y="79"/>
                  </a:lnTo>
                  <a:lnTo>
                    <a:pt x="67" y="79"/>
                  </a:lnTo>
                  <a:lnTo>
                    <a:pt x="72" y="79"/>
                  </a:lnTo>
                  <a:lnTo>
                    <a:pt x="72" y="79"/>
                  </a:lnTo>
                  <a:lnTo>
                    <a:pt x="81" y="76"/>
                  </a:lnTo>
                  <a:lnTo>
                    <a:pt x="81" y="76"/>
                  </a:lnTo>
                  <a:lnTo>
                    <a:pt x="90" y="68"/>
                  </a:lnTo>
                  <a:lnTo>
                    <a:pt x="94" y="65"/>
                  </a:lnTo>
                  <a:lnTo>
                    <a:pt x="97" y="65"/>
                  </a:lnTo>
                  <a:lnTo>
                    <a:pt x="97" y="6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48" name="Freeform 174"/>
            <p:cNvSpPr>
              <a:spLocks/>
            </p:cNvSpPr>
            <p:nvPr/>
          </p:nvSpPr>
          <p:spPr bwMode="auto">
            <a:xfrm>
              <a:off x="6096001" y="2979738"/>
              <a:ext cx="352425" cy="250825"/>
            </a:xfrm>
            <a:custGeom>
              <a:avLst/>
              <a:gdLst>
                <a:gd name="T0" fmla="*/ 211 w 222"/>
                <a:gd name="T1" fmla="*/ 21 h 158"/>
                <a:gd name="T2" fmla="*/ 201 w 222"/>
                <a:gd name="T3" fmla="*/ 21 h 158"/>
                <a:gd name="T4" fmla="*/ 183 w 222"/>
                <a:gd name="T5" fmla="*/ 32 h 158"/>
                <a:gd name="T6" fmla="*/ 175 w 222"/>
                <a:gd name="T7" fmla="*/ 29 h 158"/>
                <a:gd name="T8" fmla="*/ 176 w 222"/>
                <a:gd name="T9" fmla="*/ 14 h 158"/>
                <a:gd name="T10" fmla="*/ 172 w 222"/>
                <a:gd name="T11" fmla="*/ 10 h 158"/>
                <a:gd name="T12" fmla="*/ 168 w 222"/>
                <a:gd name="T13" fmla="*/ 0 h 158"/>
                <a:gd name="T14" fmla="*/ 155 w 222"/>
                <a:gd name="T15" fmla="*/ 10 h 158"/>
                <a:gd name="T16" fmla="*/ 151 w 222"/>
                <a:gd name="T17" fmla="*/ 15 h 158"/>
                <a:gd name="T18" fmla="*/ 139 w 222"/>
                <a:gd name="T19" fmla="*/ 21 h 158"/>
                <a:gd name="T20" fmla="*/ 132 w 222"/>
                <a:gd name="T21" fmla="*/ 22 h 158"/>
                <a:gd name="T22" fmla="*/ 124 w 222"/>
                <a:gd name="T23" fmla="*/ 25 h 158"/>
                <a:gd name="T24" fmla="*/ 114 w 222"/>
                <a:gd name="T25" fmla="*/ 22 h 158"/>
                <a:gd name="T26" fmla="*/ 104 w 222"/>
                <a:gd name="T27" fmla="*/ 18 h 158"/>
                <a:gd name="T28" fmla="*/ 93 w 222"/>
                <a:gd name="T29" fmla="*/ 18 h 158"/>
                <a:gd name="T30" fmla="*/ 81 w 222"/>
                <a:gd name="T31" fmla="*/ 15 h 158"/>
                <a:gd name="T32" fmla="*/ 71 w 222"/>
                <a:gd name="T33" fmla="*/ 22 h 158"/>
                <a:gd name="T34" fmla="*/ 65 w 222"/>
                <a:gd name="T35" fmla="*/ 26 h 158"/>
                <a:gd name="T36" fmla="*/ 58 w 222"/>
                <a:gd name="T37" fmla="*/ 42 h 158"/>
                <a:gd name="T38" fmla="*/ 40 w 222"/>
                <a:gd name="T39" fmla="*/ 50 h 158"/>
                <a:gd name="T40" fmla="*/ 33 w 222"/>
                <a:gd name="T41" fmla="*/ 57 h 158"/>
                <a:gd name="T42" fmla="*/ 26 w 222"/>
                <a:gd name="T43" fmla="*/ 56 h 158"/>
                <a:gd name="T44" fmla="*/ 15 w 222"/>
                <a:gd name="T45" fmla="*/ 53 h 158"/>
                <a:gd name="T46" fmla="*/ 8 w 222"/>
                <a:gd name="T47" fmla="*/ 60 h 158"/>
                <a:gd name="T48" fmla="*/ 3 w 222"/>
                <a:gd name="T49" fmla="*/ 72 h 158"/>
                <a:gd name="T50" fmla="*/ 0 w 222"/>
                <a:gd name="T51" fmla="*/ 86 h 158"/>
                <a:gd name="T52" fmla="*/ 0 w 222"/>
                <a:gd name="T53" fmla="*/ 97 h 158"/>
                <a:gd name="T54" fmla="*/ 3 w 222"/>
                <a:gd name="T55" fmla="*/ 113 h 158"/>
                <a:gd name="T56" fmla="*/ 10 w 222"/>
                <a:gd name="T57" fmla="*/ 122 h 158"/>
                <a:gd name="T58" fmla="*/ 18 w 222"/>
                <a:gd name="T59" fmla="*/ 129 h 158"/>
                <a:gd name="T60" fmla="*/ 6 w 222"/>
                <a:gd name="T61" fmla="*/ 147 h 158"/>
                <a:gd name="T62" fmla="*/ 6 w 222"/>
                <a:gd name="T63" fmla="*/ 156 h 158"/>
                <a:gd name="T64" fmla="*/ 29 w 222"/>
                <a:gd name="T65" fmla="*/ 158 h 158"/>
                <a:gd name="T66" fmla="*/ 93 w 222"/>
                <a:gd name="T67" fmla="*/ 151 h 158"/>
                <a:gd name="T68" fmla="*/ 92 w 222"/>
                <a:gd name="T69" fmla="*/ 135 h 158"/>
                <a:gd name="T70" fmla="*/ 104 w 222"/>
                <a:gd name="T71" fmla="*/ 128 h 158"/>
                <a:gd name="T72" fmla="*/ 114 w 222"/>
                <a:gd name="T73" fmla="*/ 125 h 158"/>
                <a:gd name="T74" fmla="*/ 122 w 222"/>
                <a:gd name="T75" fmla="*/ 119 h 158"/>
                <a:gd name="T76" fmla="*/ 130 w 222"/>
                <a:gd name="T77" fmla="*/ 119 h 158"/>
                <a:gd name="T78" fmla="*/ 139 w 222"/>
                <a:gd name="T79" fmla="*/ 113 h 158"/>
                <a:gd name="T80" fmla="*/ 143 w 222"/>
                <a:gd name="T81" fmla="*/ 96 h 158"/>
                <a:gd name="T82" fmla="*/ 153 w 222"/>
                <a:gd name="T83" fmla="*/ 92 h 158"/>
                <a:gd name="T84" fmla="*/ 149 w 222"/>
                <a:gd name="T85" fmla="*/ 81 h 158"/>
                <a:gd name="T86" fmla="*/ 158 w 222"/>
                <a:gd name="T87" fmla="*/ 81 h 158"/>
                <a:gd name="T88" fmla="*/ 167 w 222"/>
                <a:gd name="T89" fmla="*/ 79 h 158"/>
                <a:gd name="T90" fmla="*/ 168 w 222"/>
                <a:gd name="T91" fmla="*/ 67 h 158"/>
                <a:gd name="T92" fmla="*/ 175 w 222"/>
                <a:gd name="T93" fmla="*/ 56 h 158"/>
                <a:gd name="T94" fmla="*/ 172 w 222"/>
                <a:gd name="T95" fmla="*/ 47 h 158"/>
                <a:gd name="T96" fmla="*/ 172 w 222"/>
                <a:gd name="T97" fmla="*/ 40 h 158"/>
                <a:gd name="T98" fmla="*/ 178 w 222"/>
                <a:gd name="T99" fmla="*/ 38 h 158"/>
                <a:gd name="T100" fmla="*/ 190 w 222"/>
                <a:gd name="T101" fmla="*/ 32 h 158"/>
                <a:gd name="T102" fmla="*/ 207 w 222"/>
                <a:gd name="T103" fmla="*/ 29 h 158"/>
                <a:gd name="T104" fmla="*/ 222 w 222"/>
                <a:gd name="T105" fmla="*/ 24 h 158"/>
                <a:gd name="T106" fmla="*/ 214 w 222"/>
                <a:gd name="T107" fmla="*/ 2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2" h="158">
                  <a:moveTo>
                    <a:pt x="214" y="22"/>
                  </a:moveTo>
                  <a:lnTo>
                    <a:pt x="214" y="22"/>
                  </a:lnTo>
                  <a:lnTo>
                    <a:pt x="212" y="22"/>
                  </a:lnTo>
                  <a:lnTo>
                    <a:pt x="211" y="21"/>
                  </a:lnTo>
                  <a:lnTo>
                    <a:pt x="208" y="18"/>
                  </a:lnTo>
                  <a:lnTo>
                    <a:pt x="208" y="18"/>
                  </a:lnTo>
                  <a:lnTo>
                    <a:pt x="205" y="18"/>
                  </a:lnTo>
                  <a:lnTo>
                    <a:pt x="201" y="21"/>
                  </a:lnTo>
                  <a:lnTo>
                    <a:pt x="192" y="29"/>
                  </a:lnTo>
                  <a:lnTo>
                    <a:pt x="192" y="29"/>
                  </a:lnTo>
                  <a:lnTo>
                    <a:pt x="183" y="32"/>
                  </a:lnTo>
                  <a:lnTo>
                    <a:pt x="183" y="32"/>
                  </a:lnTo>
                  <a:lnTo>
                    <a:pt x="178" y="32"/>
                  </a:lnTo>
                  <a:lnTo>
                    <a:pt x="175" y="32"/>
                  </a:lnTo>
                  <a:lnTo>
                    <a:pt x="175" y="32"/>
                  </a:lnTo>
                  <a:lnTo>
                    <a:pt x="175" y="29"/>
                  </a:lnTo>
                  <a:lnTo>
                    <a:pt x="175" y="28"/>
                  </a:lnTo>
                  <a:lnTo>
                    <a:pt x="176" y="22"/>
                  </a:lnTo>
                  <a:lnTo>
                    <a:pt x="178" y="17"/>
                  </a:lnTo>
                  <a:lnTo>
                    <a:pt x="176" y="14"/>
                  </a:lnTo>
                  <a:lnTo>
                    <a:pt x="175" y="13"/>
                  </a:lnTo>
                  <a:lnTo>
                    <a:pt x="175" y="13"/>
                  </a:lnTo>
                  <a:lnTo>
                    <a:pt x="172" y="11"/>
                  </a:lnTo>
                  <a:lnTo>
                    <a:pt x="172" y="10"/>
                  </a:lnTo>
                  <a:lnTo>
                    <a:pt x="171" y="6"/>
                  </a:lnTo>
                  <a:lnTo>
                    <a:pt x="171" y="1"/>
                  </a:lnTo>
                  <a:lnTo>
                    <a:pt x="169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4" y="1"/>
                  </a:lnTo>
                  <a:lnTo>
                    <a:pt x="160" y="6"/>
                  </a:lnTo>
                  <a:lnTo>
                    <a:pt x="155" y="10"/>
                  </a:lnTo>
                  <a:lnTo>
                    <a:pt x="154" y="14"/>
                  </a:lnTo>
                  <a:lnTo>
                    <a:pt x="154" y="14"/>
                  </a:lnTo>
                  <a:lnTo>
                    <a:pt x="154" y="15"/>
                  </a:lnTo>
                  <a:lnTo>
                    <a:pt x="151" y="15"/>
                  </a:lnTo>
                  <a:lnTo>
                    <a:pt x="147" y="17"/>
                  </a:lnTo>
                  <a:lnTo>
                    <a:pt x="142" y="18"/>
                  </a:lnTo>
                  <a:lnTo>
                    <a:pt x="140" y="20"/>
                  </a:lnTo>
                  <a:lnTo>
                    <a:pt x="139" y="21"/>
                  </a:lnTo>
                  <a:lnTo>
                    <a:pt x="139" y="21"/>
                  </a:lnTo>
                  <a:lnTo>
                    <a:pt x="139" y="22"/>
                  </a:lnTo>
                  <a:lnTo>
                    <a:pt x="137" y="22"/>
                  </a:lnTo>
                  <a:lnTo>
                    <a:pt x="132" y="22"/>
                  </a:lnTo>
                  <a:lnTo>
                    <a:pt x="126" y="24"/>
                  </a:lnTo>
                  <a:lnTo>
                    <a:pt x="125" y="24"/>
                  </a:lnTo>
                  <a:lnTo>
                    <a:pt x="124" y="25"/>
                  </a:lnTo>
                  <a:lnTo>
                    <a:pt x="124" y="25"/>
                  </a:lnTo>
                  <a:lnTo>
                    <a:pt x="122" y="26"/>
                  </a:lnTo>
                  <a:lnTo>
                    <a:pt x="121" y="26"/>
                  </a:lnTo>
                  <a:lnTo>
                    <a:pt x="117" y="25"/>
                  </a:lnTo>
                  <a:lnTo>
                    <a:pt x="114" y="22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07" y="21"/>
                  </a:lnTo>
                  <a:lnTo>
                    <a:pt x="104" y="18"/>
                  </a:lnTo>
                  <a:lnTo>
                    <a:pt x="100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3" y="18"/>
                  </a:lnTo>
                  <a:lnTo>
                    <a:pt x="90" y="17"/>
                  </a:lnTo>
                  <a:lnTo>
                    <a:pt x="83" y="15"/>
                  </a:lnTo>
                  <a:lnTo>
                    <a:pt x="83" y="15"/>
                  </a:lnTo>
                  <a:lnTo>
                    <a:pt x="81" y="15"/>
                  </a:lnTo>
                  <a:lnTo>
                    <a:pt x="78" y="20"/>
                  </a:lnTo>
                  <a:lnTo>
                    <a:pt x="75" y="22"/>
                  </a:lnTo>
                  <a:lnTo>
                    <a:pt x="74" y="22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69" y="22"/>
                  </a:lnTo>
                  <a:lnTo>
                    <a:pt x="68" y="24"/>
                  </a:lnTo>
                  <a:lnTo>
                    <a:pt x="65" y="26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1" y="40"/>
                  </a:lnTo>
                  <a:lnTo>
                    <a:pt x="58" y="42"/>
                  </a:lnTo>
                  <a:lnTo>
                    <a:pt x="50" y="44"/>
                  </a:lnTo>
                  <a:lnTo>
                    <a:pt x="43" y="47"/>
                  </a:lnTo>
                  <a:lnTo>
                    <a:pt x="40" y="49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39" y="53"/>
                  </a:lnTo>
                  <a:lnTo>
                    <a:pt x="39" y="56"/>
                  </a:lnTo>
                  <a:lnTo>
                    <a:pt x="33" y="57"/>
                  </a:lnTo>
                  <a:lnTo>
                    <a:pt x="29" y="57"/>
                  </a:lnTo>
                  <a:lnTo>
                    <a:pt x="28" y="57"/>
                  </a:lnTo>
                  <a:lnTo>
                    <a:pt x="26" y="56"/>
                  </a:lnTo>
                  <a:lnTo>
                    <a:pt x="26" y="56"/>
                  </a:lnTo>
                  <a:lnTo>
                    <a:pt x="25" y="53"/>
                  </a:lnTo>
                  <a:lnTo>
                    <a:pt x="21" y="53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4" y="53"/>
                  </a:lnTo>
                  <a:lnTo>
                    <a:pt x="11" y="53"/>
                  </a:lnTo>
                  <a:lnTo>
                    <a:pt x="8" y="56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4"/>
                  </a:lnTo>
                  <a:lnTo>
                    <a:pt x="6" y="68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0" y="79"/>
                  </a:lnTo>
                  <a:lnTo>
                    <a:pt x="0" y="82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1" y="89"/>
                  </a:lnTo>
                  <a:lnTo>
                    <a:pt x="0" y="93"/>
                  </a:lnTo>
                  <a:lnTo>
                    <a:pt x="0" y="97"/>
                  </a:lnTo>
                  <a:lnTo>
                    <a:pt x="0" y="103"/>
                  </a:lnTo>
                  <a:lnTo>
                    <a:pt x="0" y="103"/>
                  </a:lnTo>
                  <a:lnTo>
                    <a:pt x="1" y="108"/>
                  </a:lnTo>
                  <a:lnTo>
                    <a:pt x="3" y="113"/>
                  </a:lnTo>
                  <a:lnTo>
                    <a:pt x="3" y="121"/>
                  </a:lnTo>
                  <a:lnTo>
                    <a:pt x="3" y="121"/>
                  </a:lnTo>
                  <a:lnTo>
                    <a:pt x="6" y="122"/>
                  </a:lnTo>
                  <a:lnTo>
                    <a:pt x="10" y="122"/>
                  </a:lnTo>
                  <a:lnTo>
                    <a:pt x="15" y="125"/>
                  </a:lnTo>
                  <a:lnTo>
                    <a:pt x="17" y="126"/>
                  </a:lnTo>
                  <a:lnTo>
                    <a:pt x="18" y="129"/>
                  </a:lnTo>
                  <a:lnTo>
                    <a:pt x="18" y="129"/>
                  </a:lnTo>
                  <a:lnTo>
                    <a:pt x="18" y="132"/>
                  </a:lnTo>
                  <a:lnTo>
                    <a:pt x="17" y="135"/>
                  </a:lnTo>
                  <a:lnTo>
                    <a:pt x="11" y="140"/>
                  </a:lnTo>
                  <a:lnTo>
                    <a:pt x="6" y="147"/>
                  </a:lnTo>
                  <a:lnTo>
                    <a:pt x="3" y="151"/>
                  </a:lnTo>
                  <a:lnTo>
                    <a:pt x="3" y="151"/>
                  </a:lnTo>
                  <a:lnTo>
                    <a:pt x="3" y="153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17" y="157"/>
                  </a:lnTo>
                  <a:lnTo>
                    <a:pt x="29" y="158"/>
                  </a:lnTo>
                  <a:lnTo>
                    <a:pt x="29" y="158"/>
                  </a:lnTo>
                  <a:lnTo>
                    <a:pt x="43" y="158"/>
                  </a:lnTo>
                  <a:lnTo>
                    <a:pt x="64" y="156"/>
                  </a:lnTo>
                  <a:lnTo>
                    <a:pt x="83" y="153"/>
                  </a:lnTo>
                  <a:lnTo>
                    <a:pt x="93" y="151"/>
                  </a:lnTo>
                  <a:lnTo>
                    <a:pt x="93" y="151"/>
                  </a:lnTo>
                  <a:lnTo>
                    <a:pt x="92" y="143"/>
                  </a:lnTo>
                  <a:lnTo>
                    <a:pt x="92" y="135"/>
                  </a:lnTo>
                  <a:lnTo>
                    <a:pt x="92" y="135"/>
                  </a:lnTo>
                  <a:lnTo>
                    <a:pt x="93" y="133"/>
                  </a:lnTo>
                  <a:lnTo>
                    <a:pt x="96" y="131"/>
                  </a:lnTo>
                  <a:lnTo>
                    <a:pt x="99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11" y="128"/>
                  </a:lnTo>
                  <a:lnTo>
                    <a:pt x="114" y="128"/>
                  </a:lnTo>
                  <a:lnTo>
                    <a:pt x="114" y="125"/>
                  </a:lnTo>
                  <a:lnTo>
                    <a:pt x="114" y="125"/>
                  </a:lnTo>
                  <a:lnTo>
                    <a:pt x="115" y="124"/>
                  </a:lnTo>
                  <a:lnTo>
                    <a:pt x="117" y="122"/>
                  </a:lnTo>
                  <a:lnTo>
                    <a:pt x="122" y="119"/>
                  </a:lnTo>
                  <a:lnTo>
                    <a:pt x="128" y="118"/>
                  </a:lnTo>
                  <a:lnTo>
                    <a:pt x="129" y="118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2" y="121"/>
                  </a:lnTo>
                  <a:lnTo>
                    <a:pt x="135" y="121"/>
                  </a:lnTo>
                  <a:lnTo>
                    <a:pt x="137" y="118"/>
                  </a:lnTo>
                  <a:lnTo>
                    <a:pt x="139" y="113"/>
                  </a:lnTo>
                  <a:lnTo>
                    <a:pt x="139" y="113"/>
                  </a:lnTo>
                  <a:lnTo>
                    <a:pt x="139" y="101"/>
                  </a:lnTo>
                  <a:lnTo>
                    <a:pt x="140" y="97"/>
                  </a:lnTo>
                  <a:lnTo>
                    <a:pt x="143" y="96"/>
                  </a:lnTo>
                  <a:lnTo>
                    <a:pt x="143" y="96"/>
                  </a:lnTo>
                  <a:lnTo>
                    <a:pt x="147" y="94"/>
                  </a:lnTo>
                  <a:lnTo>
                    <a:pt x="151" y="93"/>
                  </a:lnTo>
                  <a:lnTo>
                    <a:pt x="153" y="92"/>
                  </a:lnTo>
                  <a:lnTo>
                    <a:pt x="154" y="89"/>
                  </a:lnTo>
                  <a:lnTo>
                    <a:pt x="154" y="89"/>
                  </a:lnTo>
                  <a:lnTo>
                    <a:pt x="150" y="83"/>
                  </a:lnTo>
                  <a:lnTo>
                    <a:pt x="149" y="81"/>
                  </a:lnTo>
                  <a:lnTo>
                    <a:pt x="149" y="79"/>
                  </a:lnTo>
                  <a:lnTo>
                    <a:pt x="149" y="79"/>
                  </a:lnTo>
                  <a:lnTo>
                    <a:pt x="153" y="79"/>
                  </a:lnTo>
                  <a:lnTo>
                    <a:pt x="158" y="81"/>
                  </a:lnTo>
                  <a:lnTo>
                    <a:pt x="164" y="81"/>
                  </a:lnTo>
                  <a:lnTo>
                    <a:pt x="165" y="81"/>
                  </a:lnTo>
                  <a:lnTo>
                    <a:pt x="167" y="79"/>
                  </a:lnTo>
                  <a:lnTo>
                    <a:pt x="167" y="79"/>
                  </a:lnTo>
                  <a:lnTo>
                    <a:pt x="167" y="76"/>
                  </a:lnTo>
                  <a:lnTo>
                    <a:pt x="167" y="74"/>
                  </a:lnTo>
                  <a:lnTo>
                    <a:pt x="167" y="69"/>
                  </a:lnTo>
                  <a:lnTo>
                    <a:pt x="168" y="67"/>
                  </a:lnTo>
                  <a:lnTo>
                    <a:pt x="168" y="67"/>
                  </a:lnTo>
                  <a:lnTo>
                    <a:pt x="172" y="61"/>
                  </a:lnTo>
                  <a:lnTo>
                    <a:pt x="175" y="58"/>
                  </a:lnTo>
                  <a:lnTo>
                    <a:pt x="175" y="56"/>
                  </a:lnTo>
                  <a:lnTo>
                    <a:pt x="175" y="56"/>
                  </a:lnTo>
                  <a:lnTo>
                    <a:pt x="175" y="51"/>
                  </a:lnTo>
                  <a:lnTo>
                    <a:pt x="174" y="49"/>
                  </a:lnTo>
                  <a:lnTo>
                    <a:pt x="172" y="47"/>
                  </a:lnTo>
                  <a:lnTo>
                    <a:pt x="172" y="47"/>
                  </a:lnTo>
                  <a:lnTo>
                    <a:pt x="171" y="44"/>
                  </a:lnTo>
                  <a:lnTo>
                    <a:pt x="171" y="42"/>
                  </a:lnTo>
                  <a:lnTo>
                    <a:pt x="172" y="40"/>
                  </a:lnTo>
                  <a:lnTo>
                    <a:pt x="175" y="39"/>
                  </a:lnTo>
                  <a:lnTo>
                    <a:pt x="175" y="39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82" y="36"/>
                  </a:lnTo>
                  <a:lnTo>
                    <a:pt x="185" y="35"/>
                  </a:lnTo>
                  <a:lnTo>
                    <a:pt x="185" y="35"/>
                  </a:lnTo>
                  <a:lnTo>
                    <a:pt x="190" y="32"/>
                  </a:lnTo>
                  <a:lnTo>
                    <a:pt x="196" y="29"/>
                  </a:lnTo>
                  <a:lnTo>
                    <a:pt x="203" y="28"/>
                  </a:lnTo>
                  <a:lnTo>
                    <a:pt x="207" y="29"/>
                  </a:lnTo>
                  <a:lnTo>
                    <a:pt x="207" y="29"/>
                  </a:lnTo>
                  <a:lnTo>
                    <a:pt x="210" y="29"/>
                  </a:lnTo>
                  <a:lnTo>
                    <a:pt x="214" y="29"/>
                  </a:lnTo>
                  <a:lnTo>
                    <a:pt x="218" y="26"/>
                  </a:lnTo>
                  <a:lnTo>
                    <a:pt x="222" y="24"/>
                  </a:lnTo>
                  <a:lnTo>
                    <a:pt x="222" y="24"/>
                  </a:lnTo>
                  <a:lnTo>
                    <a:pt x="218" y="22"/>
                  </a:lnTo>
                  <a:lnTo>
                    <a:pt x="214" y="22"/>
                  </a:lnTo>
                  <a:lnTo>
                    <a:pt x="214" y="2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49" name="Freeform 175"/>
            <p:cNvSpPr>
              <a:spLocks/>
            </p:cNvSpPr>
            <p:nvPr/>
          </p:nvSpPr>
          <p:spPr bwMode="auto">
            <a:xfrm>
              <a:off x="6105526" y="3017838"/>
              <a:ext cx="409575" cy="369888"/>
            </a:xfrm>
            <a:custGeom>
              <a:avLst/>
              <a:gdLst>
                <a:gd name="T0" fmla="*/ 238 w 258"/>
                <a:gd name="T1" fmla="*/ 12 h 233"/>
                <a:gd name="T2" fmla="*/ 224 w 258"/>
                <a:gd name="T3" fmla="*/ 1 h 233"/>
                <a:gd name="T4" fmla="*/ 212 w 258"/>
                <a:gd name="T5" fmla="*/ 2 h 233"/>
                <a:gd name="T6" fmla="*/ 197 w 258"/>
                <a:gd name="T7" fmla="*/ 4 h 233"/>
                <a:gd name="T8" fmla="*/ 176 w 258"/>
                <a:gd name="T9" fmla="*/ 12 h 233"/>
                <a:gd name="T10" fmla="*/ 166 w 258"/>
                <a:gd name="T11" fmla="*/ 16 h 233"/>
                <a:gd name="T12" fmla="*/ 168 w 258"/>
                <a:gd name="T13" fmla="*/ 25 h 233"/>
                <a:gd name="T14" fmla="*/ 166 w 258"/>
                <a:gd name="T15" fmla="*/ 37 h 233"/>
                <a:gd name="T16" fmla="*/ 161 w 258"/>
                <a:gd name="T17" fmla="*/ 52 h 233"/>
                <a:gd name="T18" fmla="*/ 152 w 258"/>
                <a:gd name="T19" fmla="*/ 57 h 233"/>
                <a:gd name="T20" fmla="*/ 144 w 258"/>
                <a:gd name="T21" fmla="*/ 59 h 233"/>
                <a:gd name="T22" fmla="*/ 141 w 258"/>
                <a:gd name="T23" fmla="*/ 70 h 233"/>
                <a:gd name="T24" fmla="*/ 133 w 258"/>
                <a:gd name="T25" fmla="*/ 89 h 233"/>
                <a:gd name="T26" fmla="*/ 124 w 258"/>
                <a:gd name="T27" fmla="*/ 95 h 233"/>
                <a:gd name="T28" fmla="*/ 111 w 258"/>
                <a:gd name="T29" fmla="*/ 98 h 233"/>
                <a:gd name="T30" fmla="*/ 105 w 258"/>
                <a:gd name="T31" fmla="*/ 104 h 233"/>
                <a:gd name="T32" fmla="*/ 87 w 258"/>
                <a:gd name="T33" fmla="*/ 109 h 233"/>
                <a:gd name="T34" fmla="*/ 87 w 258"/>
                <a:gd name="T35" fmla="*/ 127 h 233"/>
                <a:gd name="T36" fmla="*/ 23 w 258"/>
                <a:gd name="T37" fmla="*/ 134 h 233"/>
                <a:gd name="T38" fmla="*/ 6 w 258"/>
                <a:gd name="T39" fmla="*/ 140 h 233"/>
                <a:gd name="T40" fmla="*/ 23 w 258"/>
                <a:gd name="T41" fmla="*/ 154 h 233"/>
                <a:gd name="T42" fmla="*/ 29 w 258"/>
                <a:gd name="T43" fmla="*/ 169 h 233"/>
                <a:gd name="T44" fmla="*/ 36 w 258"/>
                <a:gd name="T45" fmla="*/ 177 h 233"/>
                <a:gd name="T46" fmla="*/ 27 w 258"/>
                <a:gd name="T47" fmla="*/ 184 h 233"/>
                <a:gd name="T48" fmla="*/ 11 w 258"/>
                <a:gd name="T49" fmla="*/ 198 h 233"/>
                <a:gd name="T50" fmla="*/ 29 w 258"/>
                <a:gd name="T51" fmla="*/ 207 h 233"/>
                <a:gd name="T52" fmla="*/ 45 w 258"/>
                <a:gd name="T53" fmla="*/ 202 h 233"/>
                <a:gd name="T54" fmla="*/ 63 w 258"/>
                <a:gd name="T55" fmla="*/ 205 h 233"/>
                <a:gd name="T56" fmla="*/ 86 w 258"/>
                <a:gd name="T57" fmla="*/ 202 h 233"/>
                <a:gd name="T58" fmla="*/ 91 w 258"/>
                <a:gd name="T59" fmla="*/ 211 h 233"/>
                <a:gd name="T60" fmla="*/ 98 w 258"/>
                <a:gd name="T61" fmla="*/ 223 h 233"/>
                <a:gd name="T62" fmla="*/ 113 w 258"/>
                <a:gd name="T63" fmla="*/ 231 h 233"/>
                <a:gd name="T64" fmla="*/ 116 w 258"/>
                <a:gd name="T65" fmla="*/ 233 h 233"/>
                <a:gd name="T66" fmla="*/ 137 w 258"/>
                <a:gd name="T67" fmla="*/ 223 h 233"/>
                <a:gd name="T68" fmla="*/ 152 w 258"/>
                <a:gd name="T69" fmla="*/ 222 h 233"/>
                <a:gd name="T70" fmla="*/ 156 w 258"/>
                <a:gd name="T71" fmla="*/ 212 h 233"/>
                <a:gd name="T72" fmla="*/ 145 w 258"/>
                <a:gd name="T73" fmla="*/ 188 h 233"/>
                <a:gd name="T74" fmla="*/ 137 w 258"/>
                <a:gd name="T75" fmla="*/ 180 h 233"/>
                <a:gd name="T76" fmla="*/ 140 w 258"/>
                <a:gd name="T77" fmla="*/ 169 h 233"/>
                <a:gd name="T78" fmla="*/ 156 w 258"/>
                <a:gd name="T79" fmla="*/ 165 h 233"/>
                <a:gd name="T80" fmla="*/ 163 w 258"/>
                <a:gd name="T81" fmla="*/ 162 h 233"/>
                <a:gd name="T82" fmla="*/ 177 w 258"/>
                <a:gd name="T83" fmla="*/ 155 h 233"/>
                <a:gd name="T84" fmla="*/ 184 w 258"/>
                <a:gd name="T85" fmla="*/ 145 h 233"/>
                <a:gd name="T86" fmla="*/ 197 w 258"/>
                <a:gd name="T87" fmla="*/ 127 h 233"/>
                <a:gd name="T88" fmla="*/ 206 w 258"/>
                <a:gd name="T89" fmla="*/ 119 h 233"/>
                <a:gd name="T90" fmla="*/ 213 w 258"/>
                <a:gd name="T91" fmla="*/ 111 h 233"/>
                <a:gd name="T92" fmla="*/ 218 w 258"/>
                <a:gd name="T93" fmla="*/ 100 h 233"/>
                <a:gd name="T94" fmla="*/ 224 w 258"/>
                <a:gd name="T95" fmla="*/ 87 h 233"/>
                <a:gd name="T96" fmla="*/ 218 w 258"/>
                <a:gd name="T97" fmla="*/ 80 h 233"/>
                <a:gd name="T98" fmla="*/ 208 w 258"/>
                <a:gd name="T99" fmla="*/ 65 h 233"/>
                <a:gd name="T100" fmla="*/ 205 w 258"/>
                <a:gd name="T101" fmla="*/ 51 h 233"/>
                <a:gd name="T102" fmla="*/ 213 w 258"/>
                <a:gd name="T103" fmla="*/ 43 h 233"/>
                <a:gd name="T104" fmla="*/ 237 w 258"/>
                <a:gd name="T105" fmla="*/ 47 h 233"/>
                <a:gd name="T106" fmla="*/ 256 w 258"/>
                <a:gd name="T107" fmla="*/ 3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8" h="233">
                  <a:moveTo>
                    <a:pt x="247" y="25"/>
                  </a:moveTo>
                  <a:lnTo>
                    <a:pt x="247" y="25"/>
                  </a:lnTo>
                  <a:lnTo>
                    <a:pt x="241" y="20"/>
                  </a:lnTo>
                  <a:lnTo>
                    <a:pt x="240" y="18"/>
                  </a:lnTo>
                  <a:lnTo>
                    <a:pt x="238" y="12"/>
                  </a:lnTo>
                  <a:lnTo>
                    <a:pt x="238" y="12"/>
                  </a:lnTo>
                  <a:lnTo>
                    <a:pt x="237" y="11"/>
                  </a:lnTo>
                  <a:lnTo>
                    <a:pt x="233" y="8"/>
                  </a:lnTo>
                  <a:lnTo>
                    <a:pt x="224" y="1"/>
                  </a:lnTo>
                  <a:lnTo>
                    <a:pt x="224" y="1"/>
                  </a:lnTo>
                  <a:lnTo>
                    <a:pt x="219" y="1"/>
                  </a:lnTo>
                  <a:lnTo>
                    <a:pt x="219" y="1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212" y="2"/>
                  </a:lnTo>
                  <a:lnTo>
                    <a:pt x="208" y="5"/>
                  </a:lnTo>
                  <a:lnTo>
                    <a:pt x="204" y="5"/>
                  </a:lnTo>
                  <a:lnTo>
                    <a:pt x="201" y="5"/>
                  </a:lnTo>
                  <a:lnTo>
                    <a:pt x="201" y="5"/>
                  </a:lnTo>
                  <a:lnTo>
                    <a:pt x="197" y="4"/>
                  </a:lnTo>
                  <a:lnTo>
                    <a:pt x="190" y="5"/>
                  </a:lnTo>
                  <a:lnTo>
                    <a:pt x="184" y="8"/>
                  </a:lnTo>
                  <a:lnTo>
                    <a:pt x="179" y="11"/>
                  </a:lnTo>
                  <a:lnTo>
                    <a:pt x="179" y="11"/>
                  </a:lnTo>
                  <a:lnTo>
                    <a:pt x="176" y="12"/>
                  </a:lnTo>
                  <a:lnTo>
                    <a:pt x="172" y="14"/>
                  </a:lnTo>
                  <a:lnTo>
                    <a:pt x="172" y="14"/>
                  </a:lnTo>
                  <a:lnTo>
                    <a:pt x="169" y="15"/>
                  </a:lnTo>
                  <a:lnTo>
                    <a:pt x="169" y="15"/>
                  </a:lnTo>
                  <a:lnTo>
                    <a:pt x="166" y="16"/>
                  </a:lnTo>
                  <a:lnTo>
                    <a:pt x="165" y="18"/>
                  </a:lnTo>
                  <a:lnTo>
                    <a:pt x="165" y="20"/>
                  </a:lnTo>
                  <a:lnTo>
                    <a:pt x="166" y="23"/>
                  </a:lnTo>
                  <a:lnTo>
                    <a:pt x="166" y="23"/>
                  </a:lnTo>
                  <a:lnTo>
                    <a:pt x="168" y="25"/>
                  </a:lnTo>
                  <a:lnTo>
                    <a:pt x="169" y="27"/>
                  </a:lnTo>
                  <a:lnTo>
                    <a:pt x="169" y="32"/>
                  </a:lnTo>
                  <a:lnTo>
                    <a:pt x="169" y="32"/>
                  </a:lnTo>
                  <a:lnTo>
                    <a:pt x="169" y="34"/>
                  </a:lnTo>
                  <a:lnTo>
                    <a:pt x="166" y="37"/>
                  </a:lnTo>
                  <a:lnTo>
                    <a:pt x="162" y="43"/>
                  </a:lnTo>
                  <a:lnTo>
                    <a:pt x="162" y="43"/>
                  </a:lnTo>
                  <a:lnTo>
                    <a:pt x="161" y="45"/>
                  </a:lnTo>
                  <a:lnTo>
                    <a:pt x="161" y="50"/>
                  </a:lnTo>
                  <a:lnTo>
                    <a:pt x="161" y="52"/>
                  </a:lnTo>
                  <a:lnTo>
                    <a:pt x="161" y="55"/>
                  </a:lnTo>
                  <a:lnTo>
                    <a:pt x="161" y="55"/>
                  </a:lnTo>
                  <a:lnTo>
                    <a:pt x="159" y="57"/>
                  </a:lnTo>
                  <a:lnTo>
                    <a:pt x="158" y="57"/>
                  </a:lnTo>
                  <a:lnTo>
                    <a:pt x="152" y="57"/>
                  </a:lnTo>
                  <a:lnTo>
                    <a:pt x="147" y="55"/>
                  </a:lnTo>
                  <a:lnTo>
                    <a:pt x="143" y="55"/>
                  </a:lnTo>
                  <a:lnTo>
                    <a:pt x="143" y="55"/>
                  </a:lnTo>
                  <a:lnTo>
                    <a:pt x="143" y="57"/>
                  </a:lnTo>
                  <a:lnTo>
                    <a:pt x="144" y="59"/>
                  </a:lnTo>
                  <a:lnTo>
                    <a:pt x="148" y="65"/>
                  </a:lnTo>
                  <a:lnTo>
                    <a:pt x="148" y="65"/>
                  </a:lnTo>
                  <a:lnTo>
                    <a:pt x="147" y="68"/>
                  </a:lnTo>
                  <a:lnTo>
                    <a:pt x="145" y="69"/>
                  </a:lnTo>
                  <a:lnTo>
                    <a:pt x="141" y="70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4" y="73"/>
                  </a:lnTo>
                  <a:lnTo>
                    <a:pt x="133" y="77"/>
                  </a:lnTo>
                  <a:lnTo>
                    <a:pt x="133" y="89"/>
                  </a:lnTo>
                  <a:lnTo>
                    <a:pt x="133" y="89"/>
                  </a:lnTo>
                  <a:lnTo>
                    <a:pt x="131" y="94"/>
                  </a:lnTo>
                  <a:lnTo>
                    <a:pt x="129" y="97"/>
                  </a:lnTo>
                  <a:lnTo>
                    <a:pt x="126" y="97"/>
                  </a:lnTo>
                  <a:lnTo>
                    <a:pt x="124" y="95"/>
                  </a:lnTo>
                  <a:lnTo>
                    <a:pt x="124" y="95"/>
                  </a:lnTo>
                  <a:lnTo>
                    <a:pt x="123" y="94"/>
                  </a:lnTo>
                  <a:lnTo>
                    <a:pt x="122" y="94"/>
                  </a:lnTo>
                  <a:lnTo>
                    <a:pt x="116" y="95"/>
                  </a:lnTo>
                  <a:lnTo>
                    <a:pt x="111" y="98"/>
                  </a:lnTo>
                  <a:lnTo>
                    <a:pt x="109" y="100"/>
                  </a:lnTo>
                  <a:lnTo>
                    <a:pt x="108" y="101"/>
                  </a:lnTo>
                  <a:lnTo>
                    <a:pt x="108" y="101"/>
                  </a:lnTo>
                  <a:lnTo>
                    <a:pt x="108" y="104"/>
                  </a:lnTo>
                  <a:lnTo>
                    <a:pt x="105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3" y="104"/>
                  </a:lnTo>
                  <a:lnTo>
                    <a:pt x="90" y="107"/>
                  </a:lnTo>
                  <a:lnTo>
                    <a:pt x="87" y="109"/>
                  </a:lnTo>
                  <a:lnTo>
                    <a:pt x="86" y="111"/>
                  </a:lnTo>
                  <a:lnTo>
                    <a:pt x="86" y="111"/>
                  </a:lnTo>
                  <a:lnTo>
                    <a:pt x="86" y="119"/>
                  </a:lnTo>
                  <a:lnTo>
                    <a:pt x="87" y="127"/>
                  </a:lnTo>
                  <a:lnTo>
                    <a:pt x="87" y="127"/>
                  </a:lnTo>
                  <a:lnTo>
                    <a:pt x="77" y="129"/>
                  </a:lnTo>
                  <a:lnTo>
                    <a:pt x="58" y="132"/>
                  </a:lnTo>
                  <a:lnTo>
                    <a:pt x="37" y="134"/>
                  </a:lnTo>
                  <a:lnTo>
                    <a:pt x="23" y="134"/>
                  </a:lnTo>
                  <a:lnTo>
                    <a:pt x="23" y="134"/>
                  </a:lnTo>
                  <a:lnTo>
                    <a:pt x="11" y="133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4" y="136"/>
                  </a:lnTo>
                  <a:lnTo>
                    <a:pt x="6" y="140"/>
                  </a:lnTo>
                  <a:lnTo>
                    <a:pt x="6" y="140"/>
                  </a:lnTo>
                  <a:lnTo>
                    <a:pt x="9" y="144"/>
                  </a:lnTo>
                  <a:lnTo>
                    <a:pt x="13" y="148"/>
                  </a:lnTo>
                  <a:lnTo>
                    <a:pt x="18" y="151"/>
                  </a:lnTo>
                  <a:lnTo>
                    <a:pt x="23" y="154"/>
                  </a:lnTo>
                  <a:lnTo>
                    <a:pt x="23" y="154"/>
                  </a:lnTo>
                  <a:lnTo>
                    <a:pt x="25" y="155"/>
                  </a:lnTo>
                  <a:lnTo>
                    <a:pt x="26" y="158"/>
                  </a:lnTo>
                  <a:lnTo>
                    <a:pt x="27" y="163"/>
                  </a:lnTo>
                  <a:lnTo>
                    <a:pt x="29" y="169"/>
                  </a:lnTo>
                  <a:lnTo>
                    <a:pt x="29" y="170"/>
                  </a:lnTo>
                  <a:lnTo>
                    <a:pt x="30" y="172"/>
                  </a:lnTo>
                  <a:lnTo>
                    <a:pt x="30" y="172"/>
                  </a:lnTo>
                  <a:lnTo>
                    <a:pt x="33" y="173"/>
                  </a:lnTo>
                  <a:lnTo>
                    <a:pt x="36" y="177"/>
                  </a:lnTo>
                  <a:lnTo>
                    <a:pt x="36" y="182"/>
                  </a:lnTo>
                  <a:lnTo>
                    <a:pt x="36" y="183"/>
                  </a:lnTo>
                  <a:lnTo>
                    <a:pt x="34" y="183"/>
                  </a:lnTo>
                  <a:lnTo>
                    <a:pt x="34" y="183"/>
                  </a:lnTo>
                  <a:lnTo>
                    <a:pt x="27" y="184"/>
                  </a:lnTo>
                  <a:lnTo>
                    <a:pt x="20" y="187"/>
                  </a:lnTo>
                  <a:lnTo>
                    <a:pt x="20" y="187"/>
                  </a:lnTo>
                  <a:lnTo>
                    <a:pt x="16" y="190"/>
                  </a:lnTo>
                  <a:lnTo>
                    <a:pt x="12" y="194"/>
                  </a:lnTo>
                  <a:lnTo>
                    <a:pt x="11" y="198"/>
                  </a:lnTo>
                  <a:lnTo>
                    <a:pt x="9" y="204"/>
                  </a:lnTo>
                  <a:lnTo>
                    <a:pt x="9" y="204"/>
                  </a:lnTo>
                  <a:lnTo>
                    <a:pt x="11" y="208"/>
                  </a:lnTo>
                  <a:lnTo>
                    <a:pt x="11" y="208"/>
                  </a:lnTo>
                  <a:lnTo>
                    <a:pt x="29" y="207"/>
                  </a:lnTo>
                  <a:lnTo>
                    <a:pt x="36" y="207"/>
                  </a:lnTo>
                  <a:lnTo>
                    <a:pt x="40" y="205"/>
                  </a:lnTo>
                  <a:lnTo>
                    <a:pt x="40" y="205"/>
                  </a:lnTo>
                  <a:lnTo>
                    <a:pt x="41" y="204"/>
                  </a:lnTo>
                  <a:lnTo>
                    <a:pt x="45" y="202"/>
                  </a:lnTo>
                  <a:lnTo>
                    <a:pt x="48" y="202"/>
                  </a:lnTo>
                  <a:lnTo>
                    <a:pt x="51" y="204"/>
                  </a:lnTo>
                  <a:lnTo>
                    <a:pt x="51" y="204"/>
                  </a:lnTo>
                  <a:lnTo>
                    <a:pt x="56" y="205"/>
                  </a:lnTo>
                  <a:lnTo>
                    <a:pt x="63" y="205"/>
                  </a:lnTo>
                  <a:lnTo>
                    <a:pt x="70" y="205"/>
                  </a:lnTo>
                  <a:lnTo>
                    <a:pt x="77" y="204"/>
                  </a:lnTo>
                  <a:lnTo>
                    <a:pt x="77" y="204"/>
                  </a:lnTo>
                  <a:lnTo>
                    <a:pt x="81" y="201"/>
                  </a:lnTo>
                  <a:lnTo>
                    <a:pt x="86" y="202"/>
                  </a:lnTo>
                  <a:lnTo>
                    <a:pt x="88" y="204"/>
                  </a:lnTo>
                  <a:lnTo>
                    <a:pt x="90" y="207"/>
                  </a:lnTo>
                  <a:lnTo>
                    <a:pt x="90" y="207"/>
                  </a:lnTo>
                  <a:lnTo>
                    <a:pt x="90" y="209"/>
                  </a:lnTo>
                  <a:lnTo>
                    <a:pt x="91" y="211"/>
                  </a:lnTo>
                  <a:lnTo>
                    <a:pt x="97" y="215"/>
                  </a:lnTo>
                  <a:lnTo>
                    <a:pt x="97" y="215"/>
                  </a:lnTo>
                  <a:lnTo>
                    <a:pt x="98" y="218"/>
                  </a:lnTo>
                  <a:lnTo>
                    <a:pt x="98" y="220"/>
                  </a:lnTo>
                  <a:lnTo>
                    <a:pt x="98" y="223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2" y="229"/>
                  </a:lnTo>
                  <a:lnTo>
                    <a:pt x="105" y="229"/>
                  </a:lnTo>
                  <a:lnTo>
                    <a:pt x="113" y="231"/>
                  </a:lnTo>
                  <a:lnTo>
                    <a:pt x="113" y="231"/>
                  </a:lnTo>
                  <a:lnTo>
                    <a:pt x="116" y="233"/>
                  </a:lnTo>
                  <a:lnTo>
                    <a:pt x="116" y="233"/>
                  </a:lnTo>
                  <a:lnTo>
                    <a:pt x="116" y="233"/>
                  </a:lnTo>
                  <a:lnTo>
                    <a:pt x="116" y="233"/>
                  </a:lnTo>
                  <a:lnTo>
                    <a:pt x="122" y="225"/>
                  </a:lnTo>
                  <a:lnTo>
                    <a:pt x="124" y="223"/>
                  </a:lnTo>
                  <a:lnTo>
                    <a:pt x="131" y="223"/>
                  </a:lnTo>
                  <a:lnTo>
                    <a:pt x="131" y="223"/>
                  </a:lnTo>
                  <a:lnTo>
                    <a:pt x="137" y="223"/>
                  </a:lnTo>
                  <a:lnTo>
                    <a:pt x="140" y="222"/>
                  </a:lnTo>
                  <a:lnTo>
                    <a:pt x="143" y="222"/>
                  </a:lnTo>
                  <a:lnTo>
                    <a:pt x="145" y="222"/>
                  </a:lnTo>
                  <a:lnTo>
                    <a:pt x="145" y="222"/>
                  </a:lnTo>
                  <a:lnTo>
                    <a:pt x="152" y="222"/>
                  </a:lnTo>
                  <a:lnTo>
                    <a:pt x="155" y="220"/>
                  </a:lnTo>
                  <a:lnTo>
                    <a:pt x="158" y="219"/>
                  </a:lnTo>
                  <a:lnTo>
                    <a:pt x="158" y="219"/>
                  </a:lnTo>
                  <a:lnTo>
                    <a:pt x="158" y="215"/>
                  </a:lnTo>
                  <a:lnTo>
                    <a:pt x="156" y="212"/>
                  </a:lnTo>
                  <a:lnTo>
                    <a:pt x="152" y="205"/>
                  </a:lnTo>
                  <a:lnTo>
                    <a:pt x="152" y="205"/>
                  </a:lnTo>
                  <a:lnTo>
                    <a:pt x="147" y="198"/>
                  </a:lnTo>
                  <a:lnTo>
                    <a:pt x="145" y="193"/>
                  </a:lnTo>
                  <a:lnTo>
                    <a:pt x="145" y="188"/>
                  </a:lnTo>
                  <a:lnTo>
                    <a:pt x="145" y="188"/>
                  </a:lnTo>
                  <a:lnTo>
                    <a:pt x="145" y="187"/>
                  </a:lnTo>
                  <a:lnTo>
                    <a:pt x="144" y="184"/>
                  </a:lnTo>
                  <a:lnTo>
                    <a:pt x="140" y="183"/>
                  </a:lnTo>
                  <a:lnTo>
                    <a:pt x="137" y="180"/>
                  </a:lnTo>
                  <a:lnTo>
                    <a:pt x="136" y="179"/>
                  </a:lnTo>
                  <a:lnTo>
                    <a:pt x="136" y="177"/>
                  </a:lnTo>
                  <a:lnTo>
                    <a:pt x="136" y="177"/>
                  </a:lnTo>
                  <a:lnTo>
                    <a:pt x="137" y="173"/>
                  </a:lnTo>
                  <a:lnTo>
                    <a:pt x="140" y="169"/>
                  </a:lnTo>
                  <a:lnTo>
                    <a:pt x="147" y="162"/>
                  </a:lnTo>
                  <a:lnTo>
                    <a:pt x="147" y="162"/>
                  </a:lnTo>
                  <a:lnTo>
                    <a:pt x="149" y="162"/>
                  </a:lnTo>
                  <a:lnTo>
                    <a:pt x="152" y="163"/>
                  </a:lnTo>
                  <a:lnTo>
                    <a:pt x="156" y="165"/>
                  </a:lnTo>
                  <a:lnTo>
                    <a:pt x="158" y="165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61" y="162"/>
                  </a:lnTo>
                  <a:lnTo>
                    <a:pt x="163" y="162"/>
                  </a:lnTo>
                  <a:lnTo>
                    <a:pt x="169" y="163"/>
                  </a:lnTo>
                  <a:lnTo>
                    <a:pt x="169" y="163"/>
                  </a:lnTo>
                  <a:lnTo>
                    <a:pt x="172" y="162"/>
                  </a:lnTo>
                  <a:lnTo>
                    <a:pt x="174" y="159"/>
                  </a:lnTo>
                  <a:lnTo>
                    <a:pt x="177" y="155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9" y="150"/>
                  </a:lnTo>
                  <a:lnTo>
                    <a:pt x="180" y="148"/>
                  </a:lnTo>
                  <a:lnTo>
                    <a:pt x="184" y="145"/>
                  </a:lnTo>
                  <a:lnTo>
                    <a:pt x="191" y="144"/>
                  </a:lnTo>
                  <a:lnTo>
                    <a:pt x="191" y="144"/>
                  </a:lnTo>
                  <a:lnTo>
                    <a:pt x="194" y="136"/>
                  </a:lnTo>
                  <a:lnTo>
                    <a:pt x="197" y="127"/>
                  </a:lnTo>
                  <a:lnTo>
                    <a:pt x="197" y="127"/>
                  </a:lnTo>
                  <a:lnTo>
                    <a:pt x="199" y="126"/>
                  </a:lnTo>
                  <a:lnTo>
                    <a:pt x="202" y="125"/>
                  </a:lnTo>
                  <a:lnTo>
                    <a:pt x="205" y="123"/>
                  </a:lnTo>
                  <a:lnTo>
                    <a:pt x="206" y="122"/>
                  </a:lnTo>
                  <a:lnTo>
                    <a:pt x="206" y="119"/>
                  </a:lnTo>
                  <a:lnTo>
                    <a:pt x="206" y="119"/>
                  </a:lnTo>
                  <a:lnTo>
                    <a:pt x="206" y="115"/>
                  </a:lnTo>
                  <a:lnTo>
                    <a:pt x="209" y="112"/>
                  </a:lnTo>
                  <a:lnTo>
                    <a:pt x="211" y="111"/>
                  </a:lnTo>
                  <a:lnTo>
                    <a:pt x="213" y="111"/>
                  </a:lnTo>
                  <a:lnTo>
                    <a:pt x="213" y="111"/>
                  </a:lnTo>
                  <a:lnTo>
                    <a:pt x="216" y="109"/>
                  </a:lnTo>
                  <a:lnTo>
                    <a:pt x="216" y="107"/>
                  </a:lnTo>
                  <a:lnTo>
                    <a:pt x="218" y="100"/>
                  </a:lnTo>
                  <a:lnTo>
                    <a:pt x="218" y="100"/>
                  </a:lnTo>
                  <a:lnTo>
                    <a:pt x="218" y="95"/>
                  </a:lnTo>
                  <a:lnTo>
                    <a:pt x="219" y="91"/>
                  </a:lnTo>
                  <a:lnTo>
                    <a:pt x="222" y="89"/>
                  </a:lnTo>
                  <a:lnTo>
                    <a:pt x="224" y="87"/>
                  </a:lnTo>
                  <a:lnTo>
                    <a:pt x="224" y="87"/>
                  </a:lnTo>
                  <a:lnTo>
                    <a:pt x="226" y="87"/>
                  </a:lnTo>
                  <a:lnTo>
                    <a:pt x="227" y="86"/>
                  </a:lnTo>
                  <a:lnTo>
                    <a:pt x="224" y="83"/>
                  </a:lnTo>
                  <a:lnTo>
                    <a:pt x="222" y="80"/>
                  </a:lnTo>
                  <a:lnTo>
                    <a:pt x="218" y="80"/>
                  </a:lnTo>
                  <a:lnTo>
                    <a:pt x="218" y="80"/>
                  </a:lnTo>
                  <a:lnTo>
                    <a:pt x="216" y="80"/>
                  </a:lnTo>
                  <a:lnTo>
                    <a:pt x="213" y="79"/>
                  </a:lnTo>
                  <a:lnTo>
                    <a:pt x="211" y="73"/>
                  </a:lnTo>
                  <a:lnTo>
                    <a:pt x="208" y="65"/>
                  </a:lnTo>
                  <a:lnTo>
                    <a:pt x="208" y="65"/>
                  </a:lnTo>
                  <a:lnTo>
                    <a:pt x="208" y="59"/>
                  </a:lnTo>
                  <a:lnTo>
                    <a:pt x="208" y="54"/>
                  </a:lnTo>
                  <a:lnTo>
                    <a:pt x="205" y="51"/>
                  </a:lnTo>
                  <a:lnTo>
                    <a:pt x="205" y="51"/>
                  </a:lnTo>
                  <a:lnTo>
                    <a:pt x="205" y="48"/>
                  </a:lnTo>
                  <a:lnTo>
                    <a:pt x="206" y="45"/>
                  </a:lnTo>
                  <a:lnTo>
                    <a:pt x="209" y="43"/>
                  </a:lnTo>
                  <a:lnTo>
                    <a:pt x="213" y="43"/>
                  </a:lnTo>
                  <a:lnTo>
                    <a:pt x="213" y="43"/>
                  </a:lnTo>
                  <a:lnTo>
                    <a:pt x="220" y="43"/>
                  </a:lnTo>
                  <a:lnTo>
                    <a:pt x="226" y="45"/>
                  </a:lnTo>
                  <a:lnTo>
                    <a:pt x="233" y="47"/>
                  </a:lnTo>
                  <a:lnTo>
                    <a:pt x="236" y="47"/>
                  </a:lnTo>
                  <a:lnTo>
                    <a:pt x="237" y="47"/>
                  </a:lnTo>
                  <a:lnTo>
                    <a:pt x="237" y="47"/>
                  </a:lnTo>
                  <a:lnTo>
                    <a:pt x="245" y="43"/>
                  </a:lnTo>
                  <a:lnTo>
                    <a:pt x="252" y="40"/>
                  </a:lnTo>
                  <a:lnTo>
                    <a:pt x="252" y="40"/>
                  </a:lnTo>
                  <a:lnTo>
                    <a:pt x="256" y="36"/>
                  </a:lnTo>
                  <a:lnTo>
                    <a:pt x="258" y="30"/>
                  </a:lnTo>
                  <a:lnTo>
                    <a:pt x="258" y="30"/>
                  </a:lnTo>
                  <a:lnTo>
                    <a:pt x="247" y="25"/>
                  </a:lnTo>
                  <a:lnTo>
                    <a:pt x="247" y="2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50" name="Freeform 176"/>
            <p:cNvSpPr>
              <a:spLocks noEditPoints="1"/>
            </p:cNvSpPr>
            <p:nvPr/>
          </p:nvSpPr>
          <p:spPr bwMode="auto">
            <a:xfrm>
              <a:off x="6931026" y="3852863"/>
              <a:ext cx="1139825" cy="400050"/>
            </a:xfrm>
            <a:custGeom>
              <a:avLst/>
              <a:gdLst>
                <a:gd name="T0" fmla="*/ 50 w 718"/>
                <a:gd name="T1" fmla="*/ 107 h 252"/>
                <a:gd name="T2" fmla="*/ 28 w 718"/>
                <a:gd name="T3" fmla="*/ 66 h 252"/>
                <a:gd name="T4" fmla="*/ 378 w 718"/>
                <a:gd name="T5" fmla="*/ 146 h 252"/>
                <a:gd name="T6" fmla="*/ 393 w 718"/>
                <a:gd name="T7" fmla="*/ 168 h 252"/>
                <a:gd name="T8" fmla="*/ 400 w 718"/>
                <a:gd name="T9" fmla="*/ 140 h 252"/>
                <a:gd name="T10" fmla="*/ 422 w 718"/>
                <a:gd name="T11" fmla="*/ 161 h 252"/>
                <a:gd name="T12" fmla="*/ 411 w 718"/>
                <a:gd name="T13" fmla="*/ 119 h 252"/>
                <a:gd name="T14" fmla="*/ 407 w 718"/>
                <a:gd name="T15" fmla="*/ 109 h 252"/>
                <a:gd name="T16" fmla="*/ 418 w 718"/>
                <a:gd name="T17" fmla="*/ 80 h 252"/>
                <a:gd name="T18" fmla="*/ 450 w 718"/>
                <a:gd name="T19" fmla="*/ 73 h 252"/>
                <a:gd name="T20" fmla="*/ 389 w 718"/>
                <a:gd name="T21" fmla="*/ 78 h 252"/>
                <a:gd name="T22" fmla="*/ 367 w 718"/>
                <a:gd name="T23" fmla="*/ 143 h 252"/>
                <a:gd name="T24" fmla="*/ 176 w 718"/>
                <a:gd name="T25" fmla="*/ 137 h 252"/>
                <a:gd name="T26" fmla="*/ 160 w 718"/>
                <a:gd name="T27" fmla="*/ 122 h 252"/>
                <a:gd name="T28" fmla="*/ 150 w 718"/>
                <a:gd name="T29" fmla="*/ 121 h 252"/>
                <a:gd name="T30" fmla="*/ 129 w 718"/>
                <a:gd name="T31" fmla="*/ 94 h 252"/>
                <a:gd name="T32" fmla="*/ 113 w 718"/>
                <a:gd name="T33" fmla="*/ 69 h 252"/>
                <a:gd name="T34" fmla="*/ 81 w 718"/>
                <a:gd name="T35" fmla="*/ 54 h 252"/>
                <a:gd name="T36" fmla="*/ 21 w 718"/>
                <a:gd name="T37" fmla="*/ 7 h 252"/>
                <a:gd name="T38" fmla="*/ 25 w 718"/>
                <a:gd name="T39" fmla="*/ 33 h 252"/>
                <a:gd name="T40" fmla="*/ 67 w 718"/>
                <a:gd name="T41" fmla="*/ 89 h 252"/>
                <a:gd name="T42" fmla="*/ 136 w 718"/>
                <a:gd name="T43" fmla="*/ 172 h 252"/>
                <a:gd name="T44" fmla="*/ 165 w 718"/>
                <a:gd name="T45" fmla="*/ 158 h 252"/>
                <a:gd name="T46" fmla="*/ 515 w 718"/>
                <a:gd name="T47" fmla="*/ 68 h 252"/>
                <a:gd name="T48" fmla="*/ 514 w 718"/>
                <a:gd name="T49" fmla="*/ 96 h 252"/>
                <a:gd name="T50" fmla="*/ 500 w 718"/>
                <a:gd name="T51" fmla="*/ 147 h 252"/>
                <a:gd name="T52" fmla="*/ 419 w 718"/>
                <a:gd name="T53" fmla="*/ 223 h 252"/>
                <a:gd name="T54" fmla="*/ 417 w 718"/>
                <a:gd name="T55" fmla="*/ 230 h 252"/>
                <a:gd name="T56" fmla="*/ 514 w 718"/>
                <a:gd name="T57" fmla="*/ 139 h 252"/>
                <a:gd name="T58" fmla="*/ 556 w 718"/>
                <a:gd name="T59" fmla="*/ 144 h 252"/>
                <a:gd name="T60" fmla="*/ 275 w 718"/>
                <a:gd name="T61" fmla="*/ 205 h 252"/>
                <a:gd name="T62" fmla="*/ 238 w 718"/>
                <a:gd name="T63" fmla="*/ 195 h 252"/>
                <a:gd name="T64" fmla="*/ 164 w 718"/>
                <a:gd name="T65" fmla="*/ 190 h 252"/>
                <a:gd name="T66" fmla="*/ 203 w 718"/>
                <a:gd name="T67" fmla="*/ 211 h 252"/>
                <a:gd name="T68" fmla="*/ 276 w 718"/>
                <a:gd name="T69" fmla="*/ 223 h 252"/>
                <a:gd name="T70" fmla="*/ 317 w 718"/>
                <a:gd name="T71" fmla="*/ 220 h 252"/>
                <a:gd name="T72" fmla="*/ 649 w 718"/>
                <a:gd name="T73" fmla="*/ 126 h 252"/>
                <a:gd name="T74" fmla="*/ 605 w 718"/>
                <a:gd name="T75" fmla="*/ 101 h 252"/>
                <a:gd name="T76" fmla="*/ 560 w 718"/>
                <a:gd name="T77" fmla="*/ 112 h 252"/>
                <a:gd name="T78" fmla="*/ 604 w 718"/>
                <a:gd name="T79" fmla="*/ 130 h 252"/>
                <a:gd name="T80" fmla="*/ 587 w 718"/>
                <a:gd name="T81" fmla="*/ 148 h 252"/>
                <a:gd name="T82" fmla="*/ 621 w 718"/>
                <a:gd name="T83" fmla="*/ 158 h 252"/>
                <a:gd name="T84" fmla="*/ 686 w 718"/>
                <a:gd name="T85" fmla="*/ 202 h 252"/>
                <a:gd name="T86" fmla="*/ 701 w 718"/>
                <a:gd name="T87" fmla="*/ 218 h 252"/>
                <a:gd name="T88" fmla="*/ 458 w 718"/>
                <a:gd name="T89" fmla="*/ 233 h 252"/>
                <a:gd name="T90" fmla="*/ 449 w 718"/>
                <a:gd name="T91" fmla="*/ 252 h 252"/>
                <a:gd name="T92" fmla="*/ 340 w 718"/>
                <a:gd name="T93" fmla="*/ 107 h 252"/>
                <a:gd name="T94" fmla="*/ 357 w 718"/>
                <a:gd name="T95" fmla="*/ 62 h 252"/>
                <a:gd name="T96" fmla="*/ 347 w 718"/>
                <a:gd name="T97" fmla="*/ 30 h 252"/>
                <a:gd name="T98" fmla="*/ 319 w 718"/>
                <a:gd name="T99" fmla="*/ 30 h 252"/>
                <a:gd name="T100" fmla="*/ 297 w 718"/>
                <a:gd name="T101" fmla="*/ 66 h 252"/>
                <a:gd name="T102" fmla="*/ 245 w 718"/>
                <a:gd name="T103" fmla="*/ 72 h 252"/>
                <a:gd name="T104" fmla="*/ 218 w 718"/>
                <a:gd name="T105" fmla="*/ 58 h 252"/>
                <a:gd name="T106" fmla="*/ 232 w 718"/>
                <a:gd name="T107" fmla="*/ 114 h 252"/>
                <a:gd name="T108" fmla="*/ 263 w 718"/>
                <a:gd name="T109" fmla="*/ 144 h 252"/>
                <a:gd name="T110" fmla="*/ 325 w 718"/>
                <a:gd name="T111" fmla="*/ 144 h 252"/>
                <a:gd name="T112" fmla="*/ 392 w 718"/>
                <a:gd name="T113" fmla="*/ 252 h 252"/>
                <a:gd name="T114" fmla="*/ 340 w 718"/>
                <a:gd name="T115" fmla="*/ 222 h 252"/>
                <a:gd name="T116" fmla="*/ 347 w 718"/>
                <a:gd name="T117" fmla="*/ 233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18" h="252">
                  <a:moveTo>
                    <a:pt x="50" y="107"/>
                  </a:moveTo>
                  <a:lnTo>
                    <a:pt x="50" y="107"/>
                  </a:lnTo>
                  <a:lnTo>
                    <a:pt x="50" y="109"/>
                  </a:lnTo>
                  <a:lnTo>
                    <a:pt x="53" y="112"/>
                  </a:lnTo>
                  <a:lnTo>
                    <a:pt x="56" y="115"/>
                  </a:lnTo>
                  <a:lnTo>
                    <a:pt x="57" y="115"/>
                  </a:lnTo>
                  <a:lnTo>
                    <a:pt x="58" y="115"/>
                  </a:lnTo>
                  <a:lnTo>
                    <a:pt x="58" y="115"/>
                  </a:lnTo>
                  <a:lnTo>
                    <a:pt x="58" y="114"/>
                  </a:lnTo>
                  <a:lnTo>
                    <a:pt x="58" y="111"/>
                  </a:lnTo>
                  <a:lnTo>
                    <a:pt x="57" y="107"/>
                  </a:lnTo>
                  <a:lnTo>
                    <a:pt x="53" y="104"/>
                  </a:lnTo>
                  <a:lnTo>
                    <a:pt x="52" y="104"/>
                  </a:lnTo>
                  <a:lnTo>
                    <a:pt x="50" y="107"/>
                  </a:lnTo>
                  <a:lnTo>
                    <a:pt x="50" y="107"/>
                  </a:lnTo>
                  <a:close/>
                  <a:moveTo>
                    <a:pt x="201" y="134"/>
                  </a:moveTo>
                  <a:lnTo>
                    <a:pt x="201" y="134"/>
                  </a:lnTo>
                  <a:lnTo>
                    <a:pt x="201" y="133"/>
                  </a:lnTo>
                  <a:lnTo>
                    <a:pt x="200" y="132"/>
                  </a:lnTo>
                  <a:lnTo>
                    <a:pt x="196" y="133"/>
                  </a:lnTo>
                  <a:lnTo>
                    <a:pt x="193" y="134"/>
                  </a:lnTo>
                  <a:lnTo>
                    <a:pt x="193" y="136"/>
                  </a:lnTo>
                  <a:lnTo>
                    <a:pt x="193" y="139"/>
                  </a:lnTo>
                  <a:lnTo>
                    <a:pt x="193" y="139"/>
                  </a:lnTo>
                  <a:lnTo>
                    <a:pt x="196" y="140"/>
                  </a:lnTo>
                  <a:lnTo>
                    <a:pt x="199" y="140"/>
                  </a:lnTo>
                  <a:lnTo>
                    <a:pt x="201" y="137"/>
                  </a:lnTo>
                  <a:lnTo>
                    <a:pt x="201" y="134"/>
                  </a:lnTo>
                  <a:lnTo>
                    <a:pt x="201" y="134"/>
                  </a:lnTo>
                  <a:close/>
                  <a:moveTo>
                    <a:pt x="28" y="66"/>
                  </a:moveTo>
                  <a:lnTo>
                    <a:pt x="28" y="66"/>
                  </a:lnTo>
                  <a:lnTo>
                    <a:pt x="28" y="71"/>
                  </a:lnTo>
                  <a:lnTo>
                    <a:pt x="31" y="76"/>
                  </a:lnTo>
                  <a:lnTo>
                    <a:pt x="33" y="80"/>
                  </a:lnTo>
                  <a:lnTo>
                    <a:pt x="35" y="80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9" y="76"/>
                  </a:lnTo>
                  <a:lnTo>
                    <a:pt x="39" y="73"/>
                  </a:lnTo>
                  <a:lnTo>
                    <a:pt x="35" y="69"/>
                  </a:lnTo>
                  <a:lnTo>
                    <a:pt x="31" y="65"/>
                  </a:lnTo>
                  <a:lnTo>
                    <a:pt x="29" y="65"/>
                  </a:lnTo>
                  <a:lnTo>
                    <a:pt x="28" y="66"/>
                  </a:lnTo>
                  <a:lnTo>
                    <a:pt x="28" y="66"/>
                  </a:lnTo>
                  <a:close/>
                  <a:moveTo>
                    <a:pt x="378" y="146"/>
                  </a:moveTo>
                  <a:lnTo>
                    <a:pt x="378" y="146"/>
                  </a:lnTo>
                  <a:lnTo>
                    <a:pt x="379" y="146"/>
                  </a:lnTo>
                  <a:lnTo>
                    <a:pt x="381" y="147"/>
                  </a:lnTo>
                  <a:lnTo>
                    <a:pt x="382" y="151"/>
                  </a:lnTo>
                  <a:lnTo>
                    <a:pt x="382" y="157"/>
                  </a:lnTo>
                  <a:lnTo>
                    <a:pt x="382" y="162"/>
                  </a:lnTo>
                  <a:lnTo>
                    <a:pt x="382" y="162"/>
                  </a:lnTo>
                  <a:lnTo>
                    <a:pt x="381" y="175"/>
                  </a:lnTo>
                  <a:lnTo>
                    <a:pt x="381" y="179"/>
                  </a:lnTo>
                  <a:lnTo>
                    <a:pt x="382" y="180"/>
                  </a:lnTo>
                  <a:lnTo>
                    <a:pt x="383" y="180"/>
                  </a:lnTo>
                  <a:lnTo>
                    <a:pt x="383" y="180"/>
                  </a:lnTo>
                  <a:lnTo>
                    <a:pt x="389" y="177"/>
                  </a:lnTo>
                  <a:lnTo>
                    <a:pt x="392" y="173"/>
                  </a:lnTo>
                  <a:lnTo>
                    <a:pt x="393" y="168"/>
                  </a:lnTo>
                  <a:lnTo>
                    <a:pt x="393" y="166"/>
                  </a:lnTo>
                  <a:lnTo>
                    <a:pt x="392" y="165"/>
                  </a:lnTo>
                  <a:lnTo>
                    <a:pt x="392" y="165"/>
                  </a:lnTo>
                  <a:lnTo>
                    <a:pt x="390" y="162"/>
                  </a:lnTo>
                  <a:lnTo>
                    <a:pt x="389" y="159"/>
                  </a:lnTo>
                  <a:lnTo>
                    <a:pt x="389" y="151"/>
                  </a:lnTo>
                  <a:lnTo>
                    <a:pt x="389" y="143"/>
                  </a:lnTo>
                  <a:lnTo>
                    <a:pt x="390" y="136"/>
                  </a:lnTo>
                  <a:lnTo>
                    <a:pt x="390" y="136"/>
                  </a:lnTo>
                  <a:lnTo>
                    <a:pt x="390" y="134"/>
                  </a:lnTo>
                  <a:lnTo>
                    <a:pt x="393" y="134"/>
                  </a:lnTo>
                  <a:lnTo>
                    <a:pt x="397" y="134"/>
                  </a:lnTo>
                  <a:lnTo>
                    <a:pt x="399" y="136"/>
                  </a:lnTo>
                  <a:lnTo>
                    <a:pt x="400" y="137"/>
                  </a:lnTo>
                  <a:lnTo>
                    <a:pt x="400" y="140"/>
                  </a:lnTo>
                  <a:lnTo>
                    <a:pt x="400" y="143"/>
                  </a:lnTo>
                  <a:lnTo>
                    <a:pt x="400" y="143"/>
                  </a:lnTo>
                  <a:lnTo>
                    <a:pt x="399" y="146"/>
                  </a:lnTo>
                  <a:lnTo>
                    <a:pt x="399" y="147"/>
                  </a:lnTo>
                  <a:lnTo>
                    <a:pt x="403" y="150"/>
                  </a:lnTo>
                  <a:lnTo>
                    <a:pt x="406" y="154"/>
                  </a:lnTo>
                  <a:lnTo>
                    <a:pt x="407" y="155"/>
                  </a:lnTo>
                  <a:lnTo>
                    <a:pt x="408" y="158"/>
                  </a:lnTo>
                  <a:lnTo>
                    <a:pt x="408" y="158"/>
                  </a:lnTo>
                  <a:lnTo>
                    <a:pt x="408" y="161"/>
                  </a:lnTo>
                  <a:lnTo>
                    <a:pt x="408" y="162"/>
                  </a:lnTo>
                  <a:lnTo>
                    <a:pt x="410" y="164"/>
                  </a:lnTo>
                  <a:lnTo>
                    <a:pt x="413" y="164"/>
                  </a:lnTo>
                  <a:lnTo>
                    <a:pt x="422" y="161"/>
                  </a:lnTo>
                  <a:lnTo>
                    <a:pt x="422" y="161"/>
                  </a:lnTo>
                  <a:lnTo>
                    <a:pt x="426" y="158"/>
                  </a:lnTo>
                  <a:lnTo>
                    <a:pt x="428" y="155"/>
                  </a:lnTo>
                  <a:lnTo>
                    <a:pt x="426" y="152"/>
                  </a:lnTo>
                  <a:lnTo>
                    <a:pt x="424" y="148"/>
                  </a:lnTo>
                  <a:lnTo>
                    <a:pt x="424" y="148"/>
                  </a:lnTo>
                  <a:lnTo>
                    <a:pt x="422" y="146"/>
                  </a:lnTo>
                  <a:lnTo>
                    <a:pt x="421" y="144"/>
                  </a:lnTo>
                  <a:lnTo>
                    <a:pt x="422" y="139"/>
                  </a:lnTo>
                  <a:lnTo>
                    <a:pt x="422" y="134"/>
                  </a:lnTo>
                  <a:lnTo>
                    <a:pt x="422" y="132"/>
                  </a:lnTo>
                  <a:lnTo>
                    <a:pt x="419" y="130"/>
                  </a:lnTo>
                  <a:lnTo>
                    <a:pt x="419" y="130"/>
                  </a:lnTo>
                  <a:lnTo>
                    <a:pt x="415" y="126"/>
                  </a:lnTo>
                  <a:lnTo>
                    <a:pt x="413" y="122"/>
                  </a:lnTo>
                  <a:lnTo>
                    <a:pt x="411" y="119"/>
                  </a:lnTo>
                  <a:lnTo>
                    <a:pt x="413" y="118"/>
                  </a:lnTo>
                  <a:lnTo>
                    <a:pt x="415" y="118"/>
                  </a:lnTo>
                  <a:lnTo>
                    <a:pt x="415" y="118"/>
                  </a:lnTo>
                  <a:lnTo>
                    <a:pt x="421" y="115"/>
                  </a:lnTo>
                  <a:lnTo>
                    <a:pt x="429" y="109"/>
                  </a:lnTo>
                  <a:lnTo>
                    <a:pt x="436" y="104"/>
                  </a:lnTo>
                  <a:lnTo>
                    <a:pt x="437" y="102"/>
                  </a:lnTo>
                  <a:lnTo>
                    <a:pt x="439" y="100"/>
                  </a:lnTo>
                  <a:lnTo>
                    <a:pt x="439" y="100"/>
                  </a:lnTo>
                  <a:lnTo>
                    <a:pt x="436" y="98"/>
                  </a:lnTo>
                  <a:lnTo>
                    <a:pt x="432" y="98"/>
                  </a:lnTo>
                  <a:lnTo>
                    <a:pt x="422" y="100"/>
                  </a:lnTo>
                  <a:lnTo>
                    <a:pt x="413" y="104"/>
                  </a:lnTo>
                  <a:lnTo>
                    <a:pt x="408" y="107"/>
                  </a:lnTo>
                  <a:lnTo>
                    <a:pt x="407" y="109"/>
                  </a:lnTo>
                  <a:lnTo>
                    <a:pt x="407" y="109"/>
                  </a:lnTo>
                  <a:lnTo>
                    <a:pt x="404" y="112"/>
                  </a:lnTo>
                  <a:lnTo>
                    <a:pt x="401" y="112"/>
                  </a:lnTo>
                  <a:lnTo>
                    <a:pt x="399" y="112"/>
                  </a:lnTo>
                  <a:lnTo>
                    <a:pt x="394" y="111"/>
                  </a:lnTo>
                  <a:lnTo>
                    <a:pt x="392" y="107"/>
                  </a:lnTo>
                  <a:lnTo>
                    <a:pt x="389" y="104"/>
                  </a:lnTo>
                  <a:lnTo>
                    <a:pt x="388" y="100"/>
                  </a:lnTo>
                  <a:lnTo>
                    <a:pt x="388" y="94"/>
                  </a:lnTo>
                  <a:lnTo>
                    <a:pt x="388" y="94"/>
                  </a:lnTo>
                  <a:lnTo>
                    <a:pt x="389" y="89"/>
                  </a:lnTo>
                  <a:lnTo>
                    <a:pt x="394" y="86"/>
                  </a:lnTo>
                  <a:lnTo>
                    <a:pt x="401" y="83"/>
                  </a:lnTo>
                  <a:lnTo>
                    <a:pt x="410" y="80"/>
                  </a:lnTo>
                  <a:lnTo>
                    <a:pt x="418" y="80"/>
                  </a:lnTo>
                  <a:lnTo>
                    <a:pt x="426" y="80"/>
                  </a:lnTo>
                  <a:lnTo>
                    <a:pt x="433" y="80"/>
                  </a:lnTo>
                  <a:lnTo>
                    <a:pt x="439" y="83"/>
                  </a:lnTo>
                  <a:lnTo>
                    <a:pt x="439" y="83"/>
                  </a:lnTo>
                  <a:lnTo>
                    <a:pt x="443" y="83"/>
                  </a:lnTo>
                  <a:lnTo>
                    <a:pt x="447" y="83"/>
                  </a:lnTo>
                  <a:lnTo>
                    <a:pt x="451" y="82"/>
                  </a:lnTo>
                  <a:lnTo>
                    <a:pt x="456" y="79"/>
                  </a:lnTo>
                  <a:lnTo>
                    <a:pt x="461" y="73"/>
                  </a:lnTo>
                  <a:lnTo>
                    <a:pt x="467" y="66"/>
                  </a:lnTo>
                  <a:lnTo>
                    <a:pt x="467" y="66"/>
                  </a:lnTo>
                  <a:lnTo>
                    <a:pt x="467" y="64"/>
                  </a:lnTo>
                  <a:lnTo>
                    <a:pt x="467" y="64"/>
                  </a:lnTo>
                  <a:lnTo>
                    <a:pt x="462" y="65"/>
                  </a:lnTo>
                  <a:lnTo>
                    <a:pt x="450" y="73"/>
                  </a:lnTo>
                  <a:lnTo>
                    <a:pt x="450" y="73"/>
                  </a:lnTo>
                  <a:lnTo>
                    <a:pt x="446" y="75"/>
                  </a:lnTo>
                  <a:lnTo>
                    <a:pt x="442" y="75"/>
                  </a:lnTo>
                  <a:lnTo>
                    <a:pt x="431" y="73"/>
                  </a:lnTo>
                  <a:lnTo>
                    <a:pt x="419" y="72"/>
                  </a:lnTo>
                  <a:lnTo>
                    <a:pt x="410" y="69"/>
                  </a:lnTo>
                  <a:lnTo>
                    <a:pt x="410" y="69"/>
                  </a:lnTo>
                  <a:lnTo>
                    <a:pt x="407" y="68"/>
                  </a:lnTo>
                  <a:lnTo>
                    <a:pt x="404" y="68"/>
                  </a:lnTo>
                  <a:lnTo>
                    <a:pt x="400" y="71"/>
                  </a:lnTo>
                  <a:lnTo>
                    <a:pt x="396" y="75"/>
                  </a:lnTo>
                  <a:lnTo>
                    <a:pt x="394" y="76"/>
                  </a:lnTo>
                  <a:lnTo>
                    <a:pt x="392" y="76"/>
                  </a:lnTo>
                  <a:lnTo>
                    <a:pt x="392" y="76"/>
                  </a:lnTo>
                  <a:lnTo>
                    <a:pt x="389" y="78"/>
                  </a:lnTo>
                  <a:lnTo>
                    <a:pt x="386" y="80"/>
                  </a:lnTo>
                  <a:lnTo>
                    <a:pt x="383" y="87"/>
                  </a:lnTo>
                  <a:lnTo>
                    <a:pt x="382" y="96"/>
                  </a:lnTo>
                  <a:lnTo>
                    <a:pt x="381" y="98"/>
                  </a:lnTo>
                  <a:lnTo>
                    <a:pt x="381" y="100"/>
                  </a:lnTo>
                  <a:lnTo>
                    <a:pt x="381" y="100"/>
                  </a:lnTo>
                  <a:lnTo>
                    <a:pt x="378" y="104"/>
                  </a:lnTo>
                  <a:lnTo>
                    <a:pt x="375" y="111"/>
                  </a:lnTo>
                  <a:lnTo>
                    <a:pt x="372" y="119"/>
                  </a:lnTo>
                  <a:lnTo>
                    <a:pt x="368" y="130"/>
                  </a:lnTo>
                  <a:lnTo>
                    <a:pt x="368" y="130"/>
                  </a:lnTo>
                  <a:lnTo>
                    <a:pt x="365" y="134"/>
                  </a:lnTo>
                  <a:lnTo>
                    <a:pt x="364" y="137"/>
                  </a:lnTo>
                  <a:lnTo>
                    <a:pt x="365" y="140"/>
                  </a:lnTo>
                  <a:lnTo>
                    <a:pt x="367" y="143"/>
                  </a:lnTo>
                  <a:lnTo>
                    <a:pt x="371" y="144"/>
                  </a:lnTo>
                  <a:lnTo>
                    <a:pt x="378" y="146"/>
                  </a:lnTo>
                  <a:lnTo>
                    <a:pt x="378" y="146"/>
                  </a:lnTo>
                  <a:close/>
                  <a:moveTo>
                    <a:pt x="165" y="158"/>
                  </a:moveTo>
                  <a:lnTo>
                    <a:pt x="165" y="158"/>
                  </a:lnTo>
                  <a:lnTo>
                    <a:pt x="165" y="152"/>
                  </a:lnTo>
                  <a:lnTo>
                    <a:pt x="167" y="148"/>
                  </a:lnTo>
                  <a:lnTo>
                    <a:pt x="168" y="141"/>
                  </a:lnTo>
                  <a:lnTo>
                    <a:pt x="168" y="141"/>
                  </a:lnTo>
                  <a:lnTo>
                    <a:pt x="168" y="139"/>
                  </a:lnTo>
                  <a:lnTo>
                    <a:pt x="170" y="137"/>
                  </a:lnTo>
                  <a:lnTo>
                    <a:pt x="172" y="137"/>
                  </a:lnTo>
                  <a:lnTo>
                    <a:pt x="175" y="137"/>
                  </a:lnTo>
                  <a:lnTo>
                    <a:pt x="175" y="137"/>
                  </a:lnTo>
                  <a:lnTo>
                    <a:pt x="176" y="137"/>
                  </a:lnTo>
                  <a:lnTo>
                    <a:pt x="176" y="136"/>
                  </a:lnTo>
                  <a:lnTo>
                    <a:pt x="178" y="133"/>
                  </a:lnTo>
                  <a:lnTo>
                    <a:pt x="176" y="130"/>
                  </a:lnTo>
                  <a:lnTo>
                    <a:pt x="175" y="127"/>
                  </a:lnTo>
                  <a:lnTo>
                    <a:pt x="175" y="127"/>
                  </a:lnTo>
                  <a:lnTo>
                    <a:pt x="172" y="126"/>
                  </a:lnTo>
                  <a:lnTo>
                    <a:pt x="170" y="121"/>
                  </a:lnTo>
                  <a:lnTo>
                    <a:pt x="167" y="118"/>
                  </a:lnTo>
                  <a:lnTo>
                    <a:pt x="164" y="116"/>
                  </a:lnTo>
                  <a:lnTo>
                    <a:pt x="163" y="115"/>
                  </a:lnTo>
                  <a:lnTo>
                    <a:pt x="163" y="115"/>
                  </a:lnTo>
                  <a:lnTo>
                    <a:pt x="157" y="116"/>
                  </a:lnTo>
                  <a:lnTo>
                    <a:pt x="157" y="119"/>
                  </a:lnTo>
                  <a:lnTo>
                    <a:pt x="157" y="121"/>
                  </a:lnTo>
                  <a:lnTo>
                    <a:pt x="160" y="122"/>
                  </a:lnTo>
                  <a:lnTo>
                    <a:pt x="160" y="122"/>
                  </a:lnTo>
                  <a:lnTo>
                    <a:pt x="163" y="123"/>
                  </a:lnTo>
                  <a:lnTo>
                    <a:pt x="165" y="125"/>
                  </a:lnTo>
                  <a:lnTo>
                    <a:pt x="167" y="127"/>
                  </a:lnTo>
                  <a:lnTo>
                    <a:pt x="167" y="130"/>
                  </a:lnTo>
                  <a:lnTo>
                    <a:pt x="167" y="130"/>
                  </a:lnTo>
                  <a:lnTo>
                    <a:pt x="165" y="130"/>
                  </a:lnTo>
                  <a:lnTo>
                    <a:pt x="163" y="129"/>
                  </a:lnTo>
                  <a:lnTo>
                    <a:pt x="160" y="127"/>
                  </a:lnTo>
                  <a:lnTo>
                    <a:pt x="157" y="127"/>
                  </a:lnTo>
                  <a:lnTo>
                    <a:pt x="157" y="127"/>
                  </a:lnTo>
                  <a:lnTo>
                    <a:pt x="154" y="126"/>
                  </a:lnTo>
                  <a:lnTo>
                    <a:pt x="153" y="126"/>
                  </a:lnTo>
                  <a:lnTo>
                    <a:pt x="151" y="123"/>
                  </a:lnTo>
                  <a:lnTo>
                    <a:pt x="150" y="121"/>
                  </a:lnTo>
                  <a:lnTo>
                    <a:pt x="149" y="119"/>
                  </a:lnTo>
                  <a:lnTo>
                    <a:pt x="147" y="119"/>
                  </a:lnTo>
                  <a:lnTo>
                    <a:pt x="147" y="119"/>
                  </a:lnTo>
                  <a:lnTo>
                    <a:pt x="145" y="118"/>
                  </a:lnTo>
                  <a:lnTo>
                    <a:pt x="143" y="116"/>
                  </a:lnTo>
                  <a:lnTo>
                    <a:pt x="140" y="111"/>
                  </a:lnTo>
                  <a:lnTo>
                    <a:pt x="138" y="107"/>
                  </a:lnTo>
                  <a:lnTo>
                    <a:pt x="135" y="105"/>
                  </a:lnTo>
                  <a:lnTo>
                    <a:pt x="133" y="105"/>
                  </a:lnTo>
                  <a:lnTo>
                    <a:pt x="133" y="105"/>
                  </a:lnTo>
                  <a:lnTo>
                    <a:pt x="128" y="104"/>
                  </a:lnTo>
                  <a:lnTo>
                    <a:pt x="127" y="101"/>
                  </a:lnTo>
                  <a:lnTo>
                    <a:pt x="127" y="97"/>
                  </a:lnTo>
                  <a:lnTo>
                    <a:pt x="129" y="94"/>
                  </a:lnTo>
                  <a:lnTo>
                    <a:pt x="129" y="94"/>
                  </a:lnTo>
                  <a:lnTo>
                    <a:pt x="131" y="91"/>
                  </a:lnTo>
                  <a:lnTo>
                    <a:pt x="131" y="90"/>
                  </a:lnTo>
                  <a:lnTo>
                    <a:pt x="128" y="87"/>
                  </a:lnTo>
                  <a:lnTo>
                    <a:pt x="124" y="83"/>
                  </a:lnTo>
                  <a:lnTo>
                    <a:pt x="122" y="82"/>
                  </a:lnTo>
                  <a:lnTo>
                    <a:pt x="122" y="79"/>
                  </a:lnTo>
                  <a:lnTo>
                    <a:pt x="122" y="79"/>
                  </a:lnTo>
                  <a:lnTo>
                    <a:pt x="121" y="78"/>
                  </a:lnTo>
                  <a:lnTo>
                    <a:pt x="121" y="76"/>
                  </a:lnTo>
                  <a:lnTo>
                    <a:pt x="118" y="75"/>
                  </a:lnTo>
                  <a:lnTo>
                    <a:pt x="114" y="75"/>
                  </a:lnTo>
                  <a:lnTo>
                    <a:pt x="114" y="73"/>
                  </a:lnTo>
                  <a:lnTo>
                    <a:pt x="114" y="72"/>
                  </a:lnTo>
                  <a:lnTo>
                    <a:pt x="114" y="72"/>
                  </a:lnTo>
                  <a:lnTo>
                    <a:pt x="113" y="69"/>
                  </a:lnTo>
                  <a:lnTo>
                    <a:pt x="111" y="69"/>
                  </a:lnTo>
                  <a:lnTo>
                    <a:pt x="108" y="68"/>
                  </a:lnTo>
                  <a:lnTo>
                    <a:pt x="106" y="65"/>
                  </a:lnTo>
                  <a:lnTo>
                    <a:pt x="106" y="65"/>
                  </a:lnTo>
                  <a:lnTo>
                    <a:pt x="103" y="62"/>
                  </a:lnTo>
                  <a:lnTo>
                    <a:pt x="100" y="62"/>
                  </a:lnTo>
                  <a:lnTo>
                    <a:pt x="99" y="61"/>
                  </a:lnTo>
                  <a:lnTo>
                    <a:pt x="96" y="59"/>
                  </a:lnTo>
                  <a:lnTo>
                    <a:pt x="96" y="59"/>
                  </a:lnTo>
                  <a:lnTo>
                    <a:pt x="93" y="57"/>
                  </a:lnTo>
                  <a:lnTo>
                    <a:pt x="89" y="55"/>
                  </a:lnTo>
                  <a:lnTo>
                    <a:pt x="86" y="54"/>
                  </a:lnTo>
                  <a:lnTo>
                    <a:pt x="83" y="55"/>
                  </a:lnTo>
                  <a:lnTo>
                    <a:pt x="83" y="55"/>
                  </a:lnTo>
                  <a:lnTo>
                    <a:pt x="81" y="54"/>
                  </a:lnTo>
                  <a:lnTo>
                    <a:pt x="77" y="51"/>
                  </a:lnTo>
                  <a:lnTo>
                    <a:pt x="74" y="47"/>
                  </a:lnTo>
                  <a:lnTo>
                    <a:pt x="71" y="41"/>
                  </a:lnTo>
                  <a:lnTo>
                    <a:pt x="71" y="41"/>
                  </a:lnTo>
                  <a:lnTo>
                    <a:pt x="68" y="39"/>
                  </a:lnTo>
                  <a:lnTo>
                    <a:pt x="65" y="36"/>
                  </a:lnTo>
                  <a:lnTo>
                    <a:pt x="57" y="30"/>
                  </a:lnTo>
                  <a:lnTo>
                    <a:pt x="49" y="23"/>
                  </a:lnTo>
                  <a:lnTo>
                    <a:pt x="46" y="21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0" y="12"/>
                  </a:lnTo>
                  <a:lnTo>
                    <a:pt x="36" y="9"/>
                  </a:lnTo>
                  <a:lnTo>
                    <a:pt x="29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17" y="7"/>
                  </a:lnTo>
                  <a:lnTo>
                    <a:pt x="13" y="5"/>
                  </a:lnTo>
                  <a:lnTo>
                    <a:pt x="7" y="1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0" y="4"/>
                  </a:lnTo>
                  <a:lnTo>
                    <a:pt x="2" y="8"/>
                  </a:lnTo>
                  <a:lnTo>
                    <a:pt x="7" y="18"/>
                  </a:lnTo>
                  <a:lnTo>
                    <a:pt x="15" y="26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5" y="33"/>
                  </a:lnTo>
                  <a:lnTo>
                    <a:pt x="28" y="36"/>
                  </a:lnTo>
                  <a:lnTo>
                    <a:pt x="32" y="44"/>
                  </a:lnTo>
                  <a:lnTo>
                    <a:pt x="38" y="50"/>
                  </a:lnTo>
                  <a:lnTo>
                    <a:pt x="40" y="53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6" y="55"/>
                  </a:lnTo>
                  <a:lnTo>
                    <a:pt x="49" y="58"/>
                  </a:lnTo>
                  <a:lnTo>
                    <a:pt x="53" y="69"/>
                  </a:lnTo>
                  <a:lnTo>
                    <a:pt x="56" y="79"/>
                  </a:lnTo>
                  <a:lnTo>
                    <a:pt x="58" y="83"/>
                  </a:lnTo>
                  <a:lnTo>
                    <a:pt x="61" y="84"/>
                  </a:lnTo>
                  <a:lnTo>
                    <a:pt x="61" y="84"/>
                  </a:lnTo>
                  <a:lnTo>
                    <a:pt x="64" y="86"/>
                  </a:lnTo>
                  <a:lnTo>
                    <a:pt x="67" y="89"/>
                  </a:lnTo>
                  <a:lnTo>
                    <a:pt x="74" y="98"/>
                  </a:lnTo>
                  <a:lnTo>
                    <a:pt x="81" y="111"/>
                  </a:lnTo>
                  <a:lnTo>
                    <a:pt x="85" y="121"/>
                  </a:lnTo>
                  <a:lnTo>
                    <a:pt x="85" y="121"/>
                  </a:lnTo>
                  <a:lnTo>
                    <a:pt x="86" y="125"/>
                  </a:lnTo>
                  <a:lnTo>
                    <a:pt x="89" y="129"/>
                  </a:lnTo>
                  <a:lnTo>
                    <a:pt x="95" y="136"/>
                  </a:lnTo>
                  <a:lnTo>
                    <a:pt x="102" y="141"/>
                  </a:lnTo>
                  <a:lnTo>
                    <a:pt x="107" y="148"/>
                  </a:lnTo>
                  <a:lnTo>
                    <a:pt x="107" y="148"/>
                  </a:lnTo>
                  <a:lnTo>
                    <a:pt x="114" y="155"/>
                  </a:lnTo>
                  <a:lnTo>
                    <a:pt x="122" y="162"/>
                  </a:lnTo>
                  <a:lnTo>
                    <a:pt x="131" y="168"/>
                  </a:lnTo>
                  <a:lnTo>
                    <a:pt x="136" y="172"/>
                  </a:lnTo>
                  <a:lnTo>
                    <a:pt x="136" y="172"/>
                  </a:lnTo>
                  <a:lnTo>
                    <a:pt x="140" y="179"/>
                  </a:lnTo>
                  <a:lnTo>
                    <a:pt x="142" y="182"/>
                  </a:lnTo>
                  <a:lnTo>
                    <a:pt x="143" y="182"/>
                  </a:lnTo>
                  <a:lnTo>
                    <a:pt x="143" y="180"/>
                  </a:lnTo>
                  <a:lnTo>
                    <a:pt x="143" y="180"/>
                  </a:lnTo>
                  <a:lnTo>
                    <a:pt x="145" y="179"/>
                  </a:lnTo>
                  <a:lnTo>
                    <a:pt x="146" y="179"/>
                  </a:lnTo>
                  <a:lnTo>
                    <a:pt x="151" y="179"/>
                  </a:lnTo>
                  <a:lnTo>
                    <a:pt x="160" y="180"/>
                  </a:lnTo>
                  <a:lnTo>
                    <a:pt x="160" y="180"/>
                  </a:lnTo>
                  <a:lnTo>
                    <a:pt x="161" y="180"/>
                  </a:lnTo>
                  <a:lnTo>
                    <a:pt x="163" y="177"/>
                  </a:lnTo>
                  <a:lnTo>
                    <a:pt x="165" y="172"/>
                  </a:lnTo>
                  <a:lnTo>
                    <a:pt x="165" y="164"/>
                  </a:lnTo>
                  <a:lnTo>
                    <a:pt x="165" y="158"/>
                  </a:lnTo>
                  <a:lnTo>
                    <a:pt x="165" y="158"/>
                  </a:lnTo>
                  <a:close/>
                  <a:moveTo>
                    <a:pt x="519" y="83"/>
                  </a:moveTo>
                  <a:lnTo>
                    <a:pt x="519" y="83"/>
                  </a:lnTo>
                  <a:lnTo>
                    <a:pt x="525" y="83"/>
                  </a:lnTo>
                  <a:lnTo>
                    <a:pt x="525" y="82"/>
                  </a:lnTo>
                  <a:lnTo>
                    <a:pt x="526" y="80"/>
                  </a:lnTo>
                  <a:lnTo>
                    <a:pt x="525" y="72"/>
                  </a:lnTo>
                  <a:lnTo>
                    <a:pt x="525" y="72"/>
                  </a:lnTo>
                  <a:lnTo>
                    <a:pt x="525" y="71"/>
                  </a:lnTo>
                  <a:lnTo>
                    <a:pt x="524" y="69"/>
                  </a:lnTo>
                  <a:lnTo>
                    <a:pt x="521" y="69"/>
                  </a:lnTo>
                  <a:lnTo>
                    <a:pt x="517" y="69"/>
                  </a:lnTo>
                  <a:lnTo>
                    <a:pt x="517" y="68"/>
                  </a:lnTo>
                  <a:lnTo>
                    <a:pt x="515" y="68"/>
                  </a:lnTo>
                  <a:lnTo>
                    <a:pt x="515" y="68"/>
                  </a:lnTo>
                  <a:lnTo>
                    <a:pt x="515" y="64"/>
                  </a:lnTo>
                  <a:lnTo>
                    <a:pt x="512" y="59"/>
                  </a:lnTo>
                  <a:lnTo>
                    <a:pt x="511" y="58"/>
                  </a:lnTo>
                  <a:lnTo>
                    <a:pt x="510" y="58"/>
                  </a:lnTo>
                  <a:lnTo>
                    <a:pt x="507" y="59"/>
                  </a:lnTo>
                  <a:lnTo>
                    <a:pt x="506" y="62"/>
                  </a:lnTo>
                  <a:lnTo>
                    <a:pt x="506" y="62"/>
                  </a:lnTo>
                  <a:lnTo>
                    <a:pt x="503" y="66"/>
                  </a:lnTo>
                  <a:lnTo>
                    <a:pt x="503" y="72"/>
                  </a:lnTo>
                  <a:lnTo>
                    <a:pt x="503" y="78"/>
                  </a:lnTo>
                  <a:lnTo>
                    <a:pt x="504" y="83"/>
                  </a:lnTo>
                  <a:lnTo>
                    <a:pt x="508" y="93"/>
                  </a:lnTo>
                  <a:lnTo>
                    <a:pt x="511" y="96"/>
                  </a:lnTo>
                  <a:lnTo>
                    <a:pt x="514" y="96"/>
                  </a:lnTo>
                  <a:lnTo>
                    <a:pt x="514" y="96"/>
                  </a:lnTo>
                  <a:lnTo>
                    <a:pt x="514" y="96"/>
                  </a:lnTo>
                  <a:lnTo>
                    <a:pt x="515" y="93"/>
                  </a:lnTo>
                  <a:lnTo>
                    <a:pt x="514" y="89"/>
                  </a:lnTo>
                  <a:lnTo>
                    <a:pt x="515" y="84"/>
                  </a:lnTo>
                  <a:lnTo>
                    <a:pt x="517" y="83"/>
                  </a:lnTo>
                  <a:lnTo>
                    <a:pt x="519" y="83"/>
                  </a:lnTo>
                  <a:lnTo>
                    <a:pt x="519" y="83"/>
                  </a:lnTo>
                  <a:close/>
                  <a:moveTo>
                    <a:pt x="482" y="141"/>
                  </a:moveTo>
                  <a:lnTo>
                    <a:pt x="482" y="141"/>
                  </a:lnTo>
                  <a:lnTo>
                    <a:pt x="482" y="144"/>
                  </a:lnTo>
                  <a:lnTo>
                    <a:pt x="485" y="146"/>
                  </a:lnTo>
                  <a:lnTo>
                    <a:pt x="490" y="148"/>
                  </a:lnTo>
                  <a:lnTo>
                    <a:pt x="496" y="150"/>
                  </a:lnTo>
                  <a:lnTo>
                    <a:pt x="499" y="148"/>
                  </a:lnTo>
                  <a:lnTo>
                    <a:pt x="500" y="147"/>
                  </a:lnTo>
                  <a:lnTo>
                    <a:pt x="500" y="147"/>
                  </a:lnTo>
                  <a:lnTo>
                    <a:pt x="500" y="144"/>
                  </a:lnTo>
                  <a:lnTo>
                    <a:pt x="499" y="141"/>
                  </a:lnTo>
                  <a:lnTo>
                    <a:pt x="492" y="139"/>
                  </a:lnTo>
                  <a:lnTo>
                    <a:pt x="487" y="137"/>
                  </a:lnTo>
                  <a:lnTo>
                    <a:pt x="483" y="137"/>
                  </a:lnTo>
                  <a:lnTo>
                    <a:pt x="482" y="139"/>
                  </a:lnTo>
                  <a:lnTo>
                    <a:pt x="482" y="141"/>
                  </a:lnTo>
                  <a:lnTo>
                    <a:pt x="482" y="141"/>
                  </a:lnTo>
                  <a:close/>
                  <a:moveTo>
                    <a:pt x="444" y="219"/>
                  </a:moveTo>
                  <a:lnTo>
                    <a:pt x="444" y="219"/>
                  </a:lnTo>
                  <a:lnTo>
                    <a:pt x="440" y="219"/>
                  </a:lnTo>
                  <a:lnTo>
                    <a:pt x="436" y="219"/>
                  </a:lnTo>
                  <a:lnTo>
                    <a:pt x="428" y="222"/>
                  </a:lnTo>
                  <a:lnTo>
                    <a:pt x="419" y="223"/>
                  </a:lnTo>
                  <a:lnTo>
                    <a:pt x="415" y="223"/>
                  </a:lnTo>
                  <a:lnTo>
                    <a:pt x="411" y="222"/>
                  </a:lnTo>
                  <a:lnTo>
                    <a:pt x="411" y="222"/>
                  </a:lnTo>
                  <a:lnTo>
                    <a:pt x="407" y="220"/>
                  </a:lnTo>
                  <a:lnTo>
                    <a:pt x="401" y="220"/>
                  </a:lnTo>
                  <a:lnTo>
                    <a:pt x="392" y="220"/>
                  </a:lnTo>
                  <a:lnTo>
                    <a:pt x="385" y="223"/>
                  </a:lnTo>
                  <a:lnTo>
                    <a:pt x="382" y="225"/>
                  </a:lnTo>
                  <a:lnTo>
                    <a:pt x="382" y="226"/>
                  </a:lnTo>
                  <a:lnTo>
                    <a:pt x="382" y="226"/>
                  </a:lnTo>
                  <a:lnTo>
                    <a:pt x="385" y="229"/>
                  </a:lnTo>
                  <a:lnTo>
                    <a:pt x="392" y="230"/>
                  </a:lnTo>
                  <a:lnTo>
                    <a:pt x="408" y="232"/>
                  </a:lnTo>
                  <a:lnTo>
                    <a:pt x="408" y="232"/>
                  </a:lnTo>
                  <a:lnTo>
                    <a:pt x="417" y="230"/>
                  </a:lnTo>
                  <a:lnTo>
                    <a:pt x="425" y="227"/>
                  </a:lnTo>
                  <a:lnTo>
                    <a:pt x="433" y="226"/>
                  </a:lnTo>
                  <a:lnTo>
                    <a:pt x="440" y="225"/>
                  </a:lnTo>
                  <a:lnTo>
                    <a:pt x="440" y="225"/>
                  </a:lnTo>
                  <a:lnTo>
                    <a:pt x="450" y="222"/>
                  </a:lnTo>
                  <a:lnTo>
                    <a:pt x="451" y="222"/>
                  </a:lnTo>
                  <a:lnTo>
                    <a:pt x="450" y="220"/>
                  </a:lnTo>
                  <a:lnTo>
                    <a:pt x="444" y="219"/>
                  </a:lnTo>
                  <a:lnTo>
                    <a:pt x="444" y="219"/>
                  </a:lnTo>
                  <a:close/>
                  <a:moveTo>
                    <a:pt x="544" y="134"/>
                  </a:moveTo>
                  <a:lnTo>
                    <a:pt x="544" y="134"/>
                  </a:lnTo>
                  <a:lnTo>
                    <a:pt x="533" y="133"/>
                  </a:lnTo>
                  <a:lnTo>
                    <a:pt x="524" y="134"/>
                  </a:lnTo>
                  <a:lnTo>
                    <a:pt x="515" y="136"/>
                  </a:lnTo>
                  <a:lnTo>
                    <a:pt x="514" y="139"/>
                  </a:lnTo>
                  <a:lnTo>
                    <a:pt x="514" y="140"/>
                  </a:lnTo>
                  <a:lnTo>
                    <a:pt x="514" y="140"/>
                  </a:lnTo>
                  <a:lnTo>
                    <a:pt x="514" y="141"/>
                  </a:lnTo>
                  <a:lnTo>
                    <a:pt x="517" y="143"/>
                  </a:lnTo>
                  <a:lnTo>
                    <a:pt x="521" y="144"/>
                  </a:lnTo>
                  <a:lnTo>
                    <a:pt x="535" y="144"/>
                  </a:lnTo>
                  <a:lnTo>
                    <a:pt x="535" y="144"/>
                  </a:lnTo>
                  <a:lnTo>
                    <a:pt x="542" y="144"/>
                  </a:lnTo>
                  <a:lnTo>
                    <a:pt x="546" y="147"/>
                  </a:lnTo>
                  <a:lnTo>
                    <a:pt x="550" y="150"/>
                  </a:lnTo>
                  <a:lnTo>
                    <a:pt x="554" y="151"/>
                  </a:lnTo>
                  <a:lnTo>
                    <a:pt x="554" y="151"/>
                  </a:lnTo>
                  <a:lnTo>
                    <a:pt x="556" y="150"/>
                  </a:lnTo>
                  <a:lnTo>
                    <a:pt x="557" y="148"/>
                  </a:lnTo>
                  <a:lnTo>
                    <a:pt x="556" y="144"/>
                  </a:lnTo>
                  <a:lnTo>
                    <a:pt x="551" y="139"/>
                  </a:lnTo>
                  <a:lnTo>
                    <a:pt x="549" y="136"/>
                  </a:lnTo>
                  <a:lnTo>
                    <a:pt x="544" y="134"/>
                  </a:lnTo>
                  <a:lnTo>
                    <a:pt x="544" y="134"/>
                  </a:lnTo>
                  <a:close/>
                  <a:moveTo>
                    <a:pt x="300" y="215"/>
                  </a:moveTo>
                  <a:lnTo>
                    <a:pt x="300" y="215"/>
                  </a:lnTo>
                  <a:lnTo>
                    <a:pt x="299" y="212"/>
                  </a:lnTo>
                  <a:lnTo>
                    <a:pt x="297" y="212"/>
                  </a:lnTo>
                  <a:lnTo>
                    <a:pt x="289" y="212"/>
                  </a:lnTo>
                  <a:lnTo>
                    <a:pt x="281" y="212"/>
                  </a:lnTo>
                  <a:lnTo>
                    <a:pt x="272" y="211"/>
                  </a:lnTo>
                  <a:lnTo>
                    <a:pt x="272" y="211"/>
                  </a:lnTo>
                  <a:lnTo>
                    <a:pt x="271" y="209"/>
                  </a:lnTo>
                  <a:lnTo>
                    <a:pt x="271" y="208"/>
                  </a:lnTo>
                  <a:lnTo>
                    <a:pt x="275" y="205"/>
                  </a:lnTo>
                  <a:lnTo>
                    <a:pt x="282" y="202"/>
                  </a:lnTo>
                  <a:lnTo>
                    <a:pt x="289" y="200"/>
                  </a:lnTo>
                  <a:lnTo>
                    <a:pt x="289" y="200"/>
                  </a:lnTo>
                  <a:lnTo>
                    <a:pt x="290" y="198"/>
                  </a:lnTo>
                  <a:lnTo>
                    <a:pt x="290" y="197"/>
                  </a:lnTo>
                  <a:lnTo>
                    <a:pt x="288" y="195"/>
                  </a:lnTo>
                  <a:lnTo>
                    <a:pt x="279" y="197"/>
                  </a:lnTo>
                  <a:lnTo>
                    <a:pt x="270" y="200"/>
                  </a:lnTo>
                  <a:lnTo>
                    <a:pt x="270" y="200"/>
                  </a:lnTo>
                  <a:lnTo>
                    <a:pt x="264" y="200"/>
                  </a:lnTo>
                  <a:lnTo>
                    <a:pt x="258" y="200"/>
                  </a:lnTo>
                  <a:lnTo>
                    <a:pt x="249" y="197"/>
                  </a:lnTo>
                  <a:lnTo>
                    <a:pt x="240" y="194"/>
                  </a:lnTo>
                  <a:lnTo>
                    <a:pt x="239" y="194"/>
                  </a:lnTo>
                  <a:lnTo>
                    <a:pt x="238" y="195"/>
                  </a:lnTo>
                  <a:lnTo>
                    <a:pt x="238" y="195"/>
                  </a:lnTo>
                  <a:lnTo>
                    <a:pt x="236" y="197"/>
                  </a:lnTo>
                  <a:lnTo>
                    <a:pt x="233" y="197"/>
                  </a:lnTo>
                  <a:lnTo>
                    <a:pt x="224" y="195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204" y="189"/>
                  </a:lnTo>
                  <a:lnTo>
                    <a:pt x="196" y="184"/>
                  </a:lnTo>
                  <a:lnTo>
                    <a:pt x="185" y="182"/>
                  </a:lnTo>
                  <a:lnTo>
                    <a:pt x="179" y="182"/>
                  </a:lnTo>
                  <a:lnTo>
                    <a:pt x="175" y="182"/>
                  </a:lnTo>
                  <a:lnTo>
                    <a:pt x="171" y="183"/>
                  </a:lnTo>
                  <a:lnTo>
                    <a:pt x="168" y="186"/>
                  </a:lnTo>
                  <a:lnTo>
                    <a:pt x="168" y="186"/>
                  </a:lnTo>
                  <a:lnTo>
                    <a:pt x="164" y="190"/>
                  </a:lnTo>
                  <a:lnTo>
                    <a:pt x="161" y="191"/>
                  </a:lnTo>
                  <a:lnTo>
                    <a:pt x="160" y="191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3" y="198"/>
                  </a:lnTo>
                  <a:lnTo>
                    <a:pt x="165" y="198"/>
                  </a:lnTo>
                  <a:lnTo>
                    <a:pt x="172" y="198"/>
                  </a:lnTo>
                  <a:lnTo>
                    <a:pt x="172" y="198"/>
                  </a:lnTo>
                  <a:lnTo>
                    <a:pt x="174" y="198"/>
                  </a:lnTo>
                  <a:lnTo>
                    <a:pt x="175" y="201"/>
                  </a:lnTo>
                  <a:lnTo>
                    <a:pt x="176" y="205"/>
                  </a:lnTo>
                  <a:lnTo>
                    <a:pt x="181" y="207"/>
                  </a:lnTo>
                  <a:lnTo>
                    <a:pt x="181" y="207"/>
                  </a:lnTo>
                  <a:lnTo>
                    <a:pt x="196" y="209"/>
                  </a:lnTo>
                  <a:lnTo>
                    <a:pt x="203" y="211"/>
                  </a:lnTo>
                  <a:lnTo>
                    <a:pt x="206" y="209"/>
                  </a:lnTo>
                  <a:lnTo>
                    <a:pt x="208" y="209"/>
                  </a:lnTo>
                  <a:lnTo>
                    <a:pt x="208" y="209"/>
                  </a:lnTo>
                  <a:lnTo>
                    <a:pt x="210" y="208"/>
                  </a:lnTo>
                  <a:lnTo>
                    <a:pt x="213" y="207"/>
                  </a:lnTo>
                  <a:lnTo>
                    <a:pt x="220" y="208"/>
                  </a:lnTo>
                  <a:lnTo>
                    <a:pt x="229" y="211"/>
                  </a:lnTo>
                  <a:lnTo>
                    <a:pt x="238" y="216"/>
                  </a:lnTo>
                  <a:lnTo>
                    <a:pt x="238" y="216"/>
                  </a:lnTo>
                  <a:lnTo>
                    <a:pt x="242" y="219"/>
                  </a:lnTo>
                  <a:lnTo>
                    <a:pt x="246" y="220"/>
                  </a:lnTo>
                  <a:lnTo>
                    <a:pt x="257" y="223"/>
                  </a:lnTo>
                  <a:lnTo>
                    <a:pt x="268" y="223"/>
                  </a:lnTo>
                  <a:lnTo>
                    <a:pt x="276" y="223"/>
                  </a:lnTo>
                  <a:lnTo>
                    <a:pt x="276" y="223"/>
                  </a:lnTo>
                  <a:lnTo>
                    <a:pt x="282" y="223"/>
                  </a:lnTo>
                  <a:lnTo>
                    <a:pt x="289" y="225"/>
                  </a:lnTo>
                  <a:lnTo>
                    <a:pt x="293" y="225"/>
                  </a:lnTo>
                  <a:lnTo>
                    <a:pt x="296" y="225"/>
                  </a:lnTo>
                  <a:lnTo>
                    <a:pt x="297" y="223"/>
                  </a:lnTo>
                  <a:lnTo>
                    <a:pt x="297" y="223"/>
                  </a:lnTo>
                  <a:lnTo>
                    <a:pt x="299" y="222"/>
                  </a:lnTo>
                  <a:lnTo>
                    <a:pt x="300" y="223"/>
                  </a:lnTo>
                  <a:lnTo>
                    <a:pt x="304" y="225"/>
                  </a:lnTo>
                  <a:lnTo>
                    <a:pt x="310" y="226"/>
                  </a:lnTo>
                  <a:lnTo>
                    <a:pt x="313" y="226"/>
                  </a:lnTo>
                  <a:lnTo>
                    <a:pt x="315" y="225"/>
                  </a:lnTo>
                  <a:lnTo>
                    <a:pt x="315" y="225"/>
                  </a:lnTo>
                  <a:lnTo>
                    <a:pt x="318" y="222"/>
                  </a:lnTo>
                  <a:lnTo>
                    <a:pt x="317" y="220"/>
                  </a:lnTo>
                  <a:lnTo>
                    <a:pt x="311" y="219"/>
                  </a:lnTo>
                  <a:lnTo>
                    <a:pt x="304" y="218"/>
                  </a:lnTo>
                  <a:lnTo>
                    <a:pt x="301" y="216"/>
                  </a:lnTo>
                  <a:lnTo>
                    <a:pt x="300" y="215"/>
                  </a:lnTo>
                  <a:lnTo>
                    <a:pt x="300" y="215"/>
                  </a:lnTo>
                  <a:close/>
                  <a:moveTo>
                    <a:pt x="664" y="114"/>
                  </a:moveTo>
                  <a:lnTo>
                    <a:pt x="664" y="114"/>
                  </a:lnTo>
                  <a:lnTo>
                    <a:pt x="662" y="114"/>
                  </a:lnTo>
                  <a:lnTo>
                    <a:pt x="660" y="115"/>
                  </a:lnTo>
                  <a:lnTo>
                    <a:pt x="657" y="121"/>
                  </a:lnTo>
                  <a:lnTo>
                    <a:pt x="654" y="125"/>
                  </a:lnTo>
                  <a:lnTo>
                    <a:pt x="653" y="126"/>
                  </a:lnTo>
                  <a:lnTo>
                    <a:pt x="650" y="126"/>
                  </a:lnTo>
                  <a:lnTo>
                    <a:pt x="650" y="126"/>
                  </a:lnTo>
                  <a:lnTo>
                    <a:pt x="649" y="126"/>
                  </a:lnTo>
                  <a:lnTo>
                    <a:pt x="646" y="127"/>
                  </a:lnTo>
                  <a:lnTo>
                    <a:pt x="639" y="133"/>
                  </a:lnTo>
                  <a:lnTo>
                    <a:pt x="633" y="139"/>
                  </a:lnTo>
                  <a:lnTo>
                    <a:pt x="625" y="143"/>
                  </a:lnTo>
                  <a:lnTo>
                    <a:pt x="625" y="143"/>
                  </a:lnTo>
                  <a:lnTo>
                    <a:pt x="622" y="143"/>
                  </a:lnTo>
                  <a:lnTo>
                    <a:pt x="621" y="141"/>
                  </a:lnTo>
                  <a:lnTo>
                    <a:pt x="618" y="139"/>
                  </a:lnTo>
                  <a:lnTo>
                    <a:pt x="617" y="133"/>
                  </a:lnTo>
                  <a:lnTo>
                    <a:pt x="614" y="126"/>
                  </a:lnTo>
                  <a:lnTo>
                    <a:pt x="611" y="112"/>
                  </a:lnTo>
                  <a:lnTo>
                    <a:pt x="610" y="107"/>
                  </a:lnTo>
                  <a:lnTo>
                    <a:pt x="608" y="104"/>
                  </a:lnTo>
                  <a:lnTo>
                    <a:pt x="608" y="104"/>
                  </a:lnTo>
                  <a:lnTo>
                    <a:pt x="605" y="101"/>
                  </a:lnTo>
                  <a:lnTo>
                    <a:pt x="601" y="98"/>
                  </a:lnTo>
                  <a:lnTo>
                    <a:pt x="589" y="96"/>
                  </a:lnTo>
                  <a:lnTo>
                    <a:pt x="583" y="94"/>
                  </a:lnTo>
                  <a:lnTo>
                    <a:pt x="579" y="96"/>
                  </a:lnTo>
                  <a:lnTo>
                    <a:pt x="575" y="97"/>
                  </a:lnTo>
                  <a:lnTo>
                    <a:pt x="572" y="98"/>
                  </a:lnTo>
                  <a:lnTo>
                    <a:pt x="572" y="98"/>
                  </a:lnTo>
                  <a:lnTo>
                    <a:pt x="571" y="101"/>
                  </a:lnTo>
                  <a:lnTo>
                    <a:pt x="569" y="102"/>
                  </a:lnTo>
                  <a:lnTo>
                    <a:pt x="565" y="104"/>
                  </a:lnTo>
                  <a:lnTo>
                    <a:pt x="561" y="105"/>
                  </a:lnTo>
                  <a:lnTo>
                    <a:pt x="560" y="107"/>
                  </a:lnTo>
                  <a:lnTo>
                    <a:pt x="560" y="109"/>
                  </a:lnTo>
                  <a:lnTo>
                    <a:pt x="560" y="109"/>
                  </a:lnTo>
                  <a:lnTo>
                    <a:pt x="560" y="112"/>
                  </a:lnTo>
                  <a:lnTo>
                    <a:pt x="561" y="114"/>
                  </a:lnTo>
                  <a:lnTo>
                    <a:pt x="568" y="114"/>
                  </a:lnTo>
                  <a:lnTo>
                    <a:pt x="568" y="114"/>
                  </a:lnTo>
                  <a:lnTo>
                    <a:pt x="571" y="114"/>
                  </a:lnTo>
                  <a:lnTo>
                    <a:pt x="574" y="116"/>
                  </a:lnTo>
                  <a:lnTo>
                    <a:pt x="576" y="123"/>
                  </a:lnTo>
                  <a:lnTo>
                    <a:pt x="576" y="123"/>
                  </a:lnTo>
                  <a:lnTo>
                    <a:pt x="578" y="126"/>
                  </a:lnTo>
                  <a:lnTo>
                    <a:pt x="580" y="126"/>
                  </a:lnTo>
                  <a:lnTo>
                    <a:pt x="587" y="126"/>
                  </a:lnTo>
                  <a:lnTo>
                    <a:pt x="601" y="125"/>
                  </a:lnTo>
                  <a:lnTo>
                    <a:pt x="601" y="125"/>
                  </a:lnTo>
                  <a:lnTo>
                    <a:pt x="604" y="126"/>
                  </a:lnTo>
                  <a:lnTo>
                    <a:pt x="605" y="129"/>
                  </a:lnTo>
                  <a:lnTo>
                    <a:pt x="604" y="130"/>
                  </a:lnTo>
                  <a:lnTo>
                    <a:pt x="600" y="130"/>
                  </a:lnTo>
                  <a:lnTo>
                    <a:pt x="600" y="130"/>
                  </a:lnTo>
                  <a:lnTo>
                    <a:pt x="596" y="129"/>
                  </a:lnTo>
                  <a:lnTo>
                    <a:pt x="592" y="130"/>
                  </a:lnTo>
                  <a:lnTo>
                    <a:pt x="590" y="132"/>
                  </a:lnTo>
                  <a:lnTo>
                    <a:pt x="586" y="132"/>
                  </a:lnTo>
                  <a:lnTo>
                    <a:pt x="586" y="132"/>
                  </a:lnTo>
                  <a:lnTo>
                    <a:pt x="578" y="132"/>
                  </a:lnTo>
                  <a:lnTo>
                    <a:pt x="576" y="132"/>
                  </a:lnTo>
                  <a:lnTo>
                    <a:pt x="578" y="134"/>
                  </a:lnTo>
                  <a:lnTo>
                    <a:pt x="578" y="134"/>
                  </a:lnTo>
                  <a:lnTo>
                    <a:pt x="583" y="140"/>
                  </a:lnTo>
                  <a:lnTo>
                    <a:pt x="586" y="143"/>
                  </a:lnTo>
                  <a:lnTo>
                    <a:pt x="587" y="148"/>
                  </a:lnTo>
                  <a:lnTo>
                    <a:pt x="587" y="148"/>
                  </a:lnTo>
                  <a:lnTo>
                    <a:pt x="587" y="151"/>
                  </a:lnTo>
                  <a:lnTo>
                    <a:pt x="589" y="152"/>
                  </a:lnTo>
                  <a:lnTo>
                    <a:pt x="592" y="154"/>
                  </a:lnTo>
                  <a:lnTo>
                    <a:pt x="596" y="151"/>
                  </a:lnTo>
                  <a:lnTo>
                    <a:pt x="597" y="150"/>
                  </a:lnTo>
                  <a:lnTo>
                    <a:pt x="597" y="148"/>
                  </a:lnTo>
                  <a:lnTo>
                    <a:pt x="597" y="148"/>
                  </a:lnTo>
                  <a:lnTo>
                    <a:pt x="597" y="147"/>
                  </a:lnTo>
                  <a:lnTo>
                    <a:pt x="599" y="146"/>
                  </a:lnTo>
                  <a:lnTo>
                    <a:pt x="601" y="147"/>
                  </a:lnTo>
                  <a:lnTo>
                    <a:pt x="607" y="150"/>
                  </a:lnTo>
                  <a:lnTo>
                    <a:pt x="614" y="152"/>
                  </a:lnTo>
                  <a:lnTo>
                    <a:pt x="614" y="152"/>
                  </a:lnTo>
                  <a:lnTo>
                    <a:pt x="619" y="155"/>
                  </a:lnTo>
                  <a:lnTo>
                    <a:pt x="621" y="158"/>
                  </a:lnTo>
                  <a:lnTo>
                    <a:pt x="622" y="159"/>
                  </a:lnTo>
                  <a:lnTo>
                    <a:pt x="628" y="161"/>
                  </a:lnTo>
                  <a:lnTo>
                    <a:pt x="628" y="161"/>
                  </a:lnTo>
                  <a:lnTo>
                    <a:pt x="637" y="162"/>
                  </a:lnTo>
                  <a:lnTo>
                    <a:pt x="650" y="165"/>
                  </a:lnTo>
                  <a:lnTo>
                    <a:pt x="662" y="171"/>
                  </a:lnTo>
                  <a:lnTo>
                    <a:pt x="672" y="176"/>
                  </a:lnTo>
                  <a:lnTo>
                    <a:pt x="672" y="176"/>
                  </a:lnTo>
                  <a:lnTo>
                    <a:pt x="676" y="180"/>
                  </a:lnTo>
                  <a:lnTo>
                    <a:pt x="678" y="184"/>
                  </a:lnTo>
                  <a:lnTo>
                    <a:pt x="678" y="189"/>
                  </a:lnTo>
                  <a:lnTo>
                    <a:pt x="680" y="194"/>
                  </a:lnTo>
                  <a:lnTo>
                    <a:pt x="680" y="194"/>
                  </a:lnTo>
                  <a:lnTo>
                    <a:pt x="685" y="198"/>
                  </a:lnTo>
                  <a:lnTo>
                    <a:pt x="686" y="202"/>
                  </a:lnTo>
                  <a:lnTo>
                    <a:pt x="685" y="205"/>
                  </a:lnTo>
                  <a:lnTo>
                    <a:pt x="685" y="207"/>
                  </a:lnTo>
                  <a:lnTo>
                    <a:pt x="682" y="207"/>
                  </a:lnTo>
                  <a:lnTo>
                    <a:pt x="680" y="208"/>
                  </a:lnTo>
                  <a:lnTo>
                    <a:pt x="680" y="208"/>
                  </a:lnTo>
                  <a:lnTo>
                    <a:pt x="674" y="209"/>
                  </a:lnTo>
                  <a:lnTo>
                    <a:pt x="668" y="212"/>
                  </a:lnTo>
                  <a:lnTo>
                    <a:pt x="665" y="216"/>
                  </a:lnTo>
                  <a:lnTo>
                    <a:pt x="665" y="218"/>
                  </a:lnTo>
                  <a:lnTo>
                    <a:pt x="665" y="220"/>
                  </a:lnTo>
                  <a:lnTo>
                    <a:pt x="665" y="220"/>
                  </a:lnTo>
                  <a:lnTo>
                    <a:pt x="667" y="220"/>
                  </a:lnTo>
                  <a:lnTo>
                    <a:pt x="671" y="222"/>
                  </a:lnTo>
                  <a:lnTo>
                    <a:pt x="682" y="220"/>
                  </a:lnTo>
                  <a:lnTo>
                    <a:pt x="701" y="218"/>
                  </a:lnTo>
                  <a:lnTo>
                    <a:pt x="701" y="218"/>
                  </a:lnTo>
                  <a:lnTo>
                    <a:pt x="704" y="219"/>
                  </a:lnTo>
                  <a:lnTo>
                    <a:pt x="708" y="222"/>
                  </a:lnTo>
                  <a:lnTo>
                    <a:pt x="712" y="226"/>
                  </a:lnTo>
                  <a:lnTo>
                    <a:pt x="718" y="232"/>
                  </a:lnTo>
                  <a:lnTo>
                    <a:pt x="718" y="132"/>
                  </a:lnTo>
                  <a:lnTo>
                    <a:pt x="718" y="132"/>
                  </a:lnTo>
                  <a:lnTo>
                    <a:pt x="686" y="121"/>
                  </a:lnTo>
                  <a:lnTo>
                    <a:pt x="672" y="115"/>
                  </a:lnTo>
                  <a:lnTo>
                    <a:pt x="664" y="114"/>
                  </a:lnTo>
                  <a:lnTo>
                    <a:pt x="664" y="114"/>
                  </a:lnTo>
                  <a:close/>
                  <a:moveTo>
                    <a:pt x="464" y="230"/>
                  </a:moveTo>
                  <a:lnTo>
                    <a:pt x="464" y="230"/>
                  </a:lnTo>
                  <a:lnTo>
                    <a:pt x="458" y="233"/>
                  </a:lnTo>
                  <a:lnTo>
                    <a:pt x="458" y="233"/>
                  </a:lnTo>
                  <a:lnTo>
                    <a:pt x="458" y="236"/>
                  </a:lnTo>
                  <a:lnTo>
                    <a:pt x="457" y="237"/>
                  </a:lnTo>
                  <a:lnTo>
                    <a:pt x="457" y="237"/>
                  </a:lnTo>
                  <a:lnTo>
                    <a:pt x="456" y="237"/>
                  </a:lnTo>
                  <a:lnTo>
                    <a:pt x="454" y="237"/>
                  </a:lnTo>
                  <a:lnTo>
                    <a:pt x="451" y="234"/>
                  </a:lnTo>
                  <a:lnTo>
                    <a:pt x="451" y="234"/>
                  </a:lnTo>
                  <a:lnTo>
                    <a:pt x="446" y="239"/>
                  </a:lnTo>
                  <a:lnTo>
                    <a:pt x="442" y="244"/>
                  </a:lnTo>
                  <a:lnTo>
                    <a:pt x="442" y="248"/>
                  </a:lnTo>
                  <a:lnTo>
                    <a:pt x="442" y="251"/>
                  </a:lnTo>
                  <a:lnTo>
                    <a:pt x="444" y="252"/>
                  </a:lnTo>
                  <a:lnTo>
                    <a:pt x="444" y="252"/>
                  </a:lnTo>
                  <a:lnTo>
                    <a:pt x="446" y="252"/>
                  </a:lnTo>
                  <a:lnTo>
                    <a:pt x="449" y="252"/>
                  </a:lnTo>
                  <a:lnTo>
                    <a:pt x="454" y="250"/>
                  </a:lnTo>
                  <a:lnTo>
                    <a:pt x="460" y="245"/>
                  </a:lnTo>
                  <a:lnTo>
                    <a:pt x="464" y="241"/>
                  </a:lnTo>
                  <a:lnTo>
                    <a:pt x="464" y="241"/>
                  </a:lnTo>
                  <a:lnTo>
                    <a:pt x="465" y="239"/>
                  </a:lnTo>
                  <a:lnTo>
                    <a:pt x="465" y="239"/>
                  </a:lnTo>
                  <a:lnTo>
                    <a:pt x="467" y="237"/>
                  </a:lnTo>
                  <a:lnTo>
                    <a:pt x="467" y="237"/>
                  </a:lnTo>
                  <a:lnTo>
                    <a:pt x="468" y="236"/>
                  </a:lnTo>
                  <a:lnTo>
                    <a:pt x="468" y="236"/>
                  </a:lnTo>
                  <a:lnTo>
                    <a:pt x="464" y="230"/>
                  </a:lnTo>
                  <a:lnTo>
                    <a:pt x="464" y="230"/>
                  </a:lnTo>
                  <a:close/>
                  <a:moveTo>
                    <a:pt x="335" y="112"/>
                  </a:moveTo>
                  <a:lnTo>
                    <a:pt x="335" y="112"/>
                  </a:lnTo>
                  <a:lnTo>
                    <a:pt x="340" y="107"/>
                  </a:lnTo>
                  <a:lnTo>
                    <a:pt x="343" y="101"/>
                  </a:lnTo>
                  <a:lnTo>
                    <a:pt x="344" y="94"/>
                  </a:lnTo>
                  <a:lnTo>
                    <a:pt x="344" y="87"/>
                  </a:lnTo>
                  <a:lnTo>
                    <a:pt x="344" y="87"/>
                  </a:lnTo>
                  <a:lnTo>
                    <a:pt x="344" y="84"/>
                  </a:lnTo>
                  <a:lnTo>
                    <a:pt x="347" y="82"/>
                  </a:lnTo>
                  <a:lnTo>
                    <a:pt x="354" y="79"/>
                  </a:lnTo>
                  <a:lnTo>
                    <a:pt x="363" y="76"/>
                  </a:lnTo>
                  <a:lnTo>
                    <a:pt x="368" y="75"/>
                  </a:lnTo>
                  <a:lnTo>
                    <a:pt x="368" y="75"/>
                  </a:lnTo>
                  <a:lnTo>
                    <a:pt x="368" y="72"/>
                  </a:lnTo>
                  <a:lnTo>
                    <a:pt x="368" y="71"/>
                  </a:lnTo>
                  <a:lnTo>
                    <a:pt x="367" y="68"/>
                  </a:lnTo>
                  <a:lnTo>
                    <a:pt x="363" y="64"/>
                  </a:lnTo>
                  <a:lnTo>
                    <a:pt x="357" y="62"/>
                  </a:lnTo>
                  <a:lnTo>
                    <a:pt x="357" y="62"/>
                  </a:lnTo>
                  <a:lnTo>
                    <a:pt x="354" y="59"/>
                  </a:lnTo>
                  <a:lnTo>
                    <a:pt x="354" y="55"/>
                  </a:lnTo>
                  <a:lnTo>
                    <a:pt x="354" y="53"/>
                  </a:lnTo>
                  <a:lnTo>
                    <a:pt x="353" y="50"/>
                  </a:lnTo>
                  <a:lnTo>
                    <a:pt x="353" y="50"/>
                  </a:lnTo>
                  <a:lnTo>
                    <a:pt x="349" y="46"/>
                  </a:lnTo>
                  <a:lnTo>
                    <a:pt x="346" y="41"/>
                  </a:lnTo>
                  <a:lnTo>
                    <a:pt x="344" y="37"/>
                  </a:lnTo>
                  <a:lnTo>
                    <a:pt x="346" y="36"/>
                  </a:lnTo>
                  <a:lnTo>
                    <a:pt x="347" y="36"/>
                  </a:lnTo>
                  <a:lnTo>
                    <a:pt x="347" y="36"/>
                  </a:lnTo>
                  <a:lnTo>
                    <a:pt x="349" y="34"/>
                  </a:lnTo>
                  <a:lnTo>
                    <a:pt x="349" y="33"/>
                  </a:lnTo>
                  <a:lnTo>
                    <a:pt x="347" y="30"/>
                  </a:lnTo>
                  <a:lnTo>
                    <a:pt x="347" y="26"/>
                  </a:lnTo>
                  <a:lnTo>
                    <a:pt x="347" y="25"/>
                  </a:lnTo>
                  <a:lnTo>
                    <a:pt x="349" y="23"/>
                  </a:lnTo>
                  <a:lnTo>
                    <a:pt x="349" y="23"/>
                  </a:lnTo>
                  <a:lnTo>
                    <a:pt x="350" y="22"/>
                  </a:lnTo>
                  <a:lnTo>
                    <a:pt x="350" y="22"/>
                  </a:lnTo>
                  <a:lnTo>
                    <a:pt x="343" y="21"/>
                  </a:lnTo>
                  <a:lnTo>
                    <a:pt x="343" y="21"/>
                  </a:lnTo>
                  <a:lnTo>
                    <a:pt x="336" y="19"/>
                  </a:lnTo>
                  <a:lnTo>
                    <a:pt x="328" y="21"/>
                  </a:lnTo>
                  <a:lnTo>
                    <a:pt x="324" y="22"/>
                  </a:lnTo>
                  <a:lnTo>
                    <a:pt x="321" y="23"/>
                  </a:lnTo>
                  <a:lnTo>
                    <a:pt x="319" y="26"/>
                  </a:lnTo>
                  <a:lnTo>
                    <a:pt x="319" y="30"/>
                  </a:lnTo>
                  <a:lnTo>
                    <a:pt x="319" y="30"/>
                  </a:lnTo>
                  <a:lnTo>
                    <a:pt x="318" y="34"/>
                  </a:lnTo>
                  <a:lnTo>
                    <a:pt x="318" y="36"/>
                  </a:lnTo>
                  <a:lnTo>
                    <a:pt x="314" y="39"/>
                  </a:lnTo>
                  <a:lnTo>
                    <a:pt x="311" y="41"/>
                  </a:lnTo>
                  <a:lnTo>
                    <a:pt x="310" y="41"/>
                  </a:lnTo>
                  <a:lnTo>
                    <a:pt x="310" y="44"/>
                  </a:lnTo>
                  <a:lnTo>
                    <a:pt x="310" y="44"/>
                  </a:lnTo>
                  <a:lnTo>
                    <a:pt x="310" y="48"/>
                  </a:lnTo>
                  <a:lnTo>
                    <a:pt x="307" y="51"/>
                  </a:lnTo>
                  <a:lnTo>
                    <a:pt x="306" y="54"/>
                  </a:lnTo>
                  <a:lnTo>
                    <a:pt x="306" y="59"/>
                  </a:lnTo>
                  <a:lnTo>
                    <a:pt x="306" y="59"/>
                  </a:lnTo>
                  <a:lnTo>
                    <a:pt x="304" y="64"/>
                  </a:lnTo>
                  <a:lnTo>
                    <a:pt x="301" y="65"/>
                  </a:lnTo>
                  <a:lnTo>
                    <a:pt x="297" y="66"/>
                  </a:lnTo>
                  <a:lnTo>
                    <a:pt x="292" y="68"/>
                  </a:lnTo>
                  <a:lnTo>
                    <a:pt x="292" y="68"/>
                  </a:lnTo>
                  <a:lnTo>
                    <a:pt x="286" y="69"/>
                  </a:lnTo>
                  <a:lnTo>
                    <a:pt x="283" y="68"/>
                  </a:lnTo>
                  <a:lnTo>
                    <a:pt x="281" y="66"/>
                  </a:lnTo>
                  <a:lnTo>
                    <a:pt x="276" y="65"/>
                  </a:lnTo>
                  <a:lnTo>
                    <a:pt x="276" y="65"/>
                  </a:lnTo>
                  <a:lnTo>
                    <a:pt x="271" y="66"/>
                  </a:lnTo>
                  <a:lnTo>
                    <a:pt x="267" y="68"/>
                  </a:lnTo>
                  <a:lnTo>
                    <a:pt x="264" y="71"/>
                  </a:lnTo>
                  <a:lnTo>
                    <a:pt x="261" y="72"/>
                  </a:lnTo>
                  <a:lnTo>
                    <a:pt x="261" y="72"/>
                  </a:lnTo>
                  <a:lnTo>
                    <a:pt x="256" y="72"/>
                  </a:lnTo>
                  <a:lnTo>
                    <a:pt x="250" y="72"/>
                  </a:lnTo>
                  <a:lnTo>
                    <a:pt x="245" y="72"/>
                  </a:lnTo>
                  <a:lnTo>
                    <a:pt x="240" y="73"/>
                  </a:lnTo>
                  <a:lnTo>
                    <a:pt x="240" y="73"/>
                  </a:lnTo>
                  <a:lnTo>
                    <a:pt x="239" y="75"/>
                  </a:lnTo>
                  <a:lnTo>
                    <a:pt x="238" y="73"/>
                  </a:lnTo>
                  <a:lnTo>
                    <a:pt x="233" y="72"/>
                  </a:lnTo>
                  <a:lnTo>
                    <a:pt x="231" y="69"/>
                  </a:lnTo>
                  <a:lnTo>
                    <a:pt x="228" y="68"/>
                  </a:lnTo>
                  <a:lnTo>
                    <a:pt x="228" y="68"/>
                  </a:lnTo>
                  <a:lnTo>
                    <a:pt x="226" y="66"/>
                  </a:lnTo>
                  <a:lnTo>
                    <a:pt x="225" y="64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1" y="57"/>
                  </a:lnTo>
                  <a:lnTo>
                    <a:pt x="221" y="57"/>
                  </a:lnTo>
                  <a:lnTo>
                    <a:pt x="218" y="58"/>
                  </a:lnTo>
                  <a:lnTo>
                    <a:pt x="215" y="59"/>
                  </a:lnTo>
                  <a:lnTo>
                    <a:pt x="211" y="66"/>
                  </a:lnTo>
                  <a:lnTo>
                    <a:pt x="208" y="73"/>
                  </a:lnTo>
                  <a:lnTo>
                    <a:pt x="208" y="76"/>
                  </a:lnTo>
                  <a:lnTo>
                    <a:pt x="211" y="79"/>
                  </a:lnTo>
                  <a:lnTo>
                    <a:pt x="211" y="79"/>
                  </a:lnTo>
                  <a:lnTo>
                    <a:pt x="214" y="84"/>
                  </a:lnTo>
                  <a:lnTo>
                    <a:pt x="217" y="90"/>
                  </a:lnTo>
                  <a:lnTo>
                    <a:pt x="217" y="96"/>
                  </a:lnTo>
                  <a:lnTo>
                    <a:pt x="220" y="101"/>
                  </a:lnTo>
                  <a:lnTo>
                    <a:pt x="220" y="101"/>
                  </a:lnTo>
                  <a:lnTo>
                    <a:pt x="222" y="104"/>
                  </a:lnTo>
                  <a:lnTo>
                    <a:pt x="226" y="107"/>
                  </a:lnTo>
                  <a:lnTo>
                    <a:pt x="231" y="111"/>
                  </a:lnTo>
                  <a:lnTo>
                    <a:pt x="232" y="114"/>
                  </a:lnTo>
                  <a:lnTo>
                    <a:pt x="232" y="116"/>
                  </a:lnTo>
                  <a:lnTo>
                    <a:pt x="232" y="116"/>
                  </a:lnTo>
                  <a:lnTo>
                    <a:pt x="233" y="125"/>
                  </a:lnTo>
                  <a:lnTo>
                    <a:pt x="238" y="132"/>
                  </a:lnTo>
                  <a:lnTo>
                    <a:pt x="242" y="137"/>
                  </a:lnTo>
                  <a:lnTo>
                    <a:pt x="245" y="137"/>
                  </a:lnTo>
                  <a:lnTo>
                    <a:pt x="247" y="137"/>
                  </a:lnTo>
                  <a:lnTo>
                    <a:pt x="247" y="137"/>
                  </a:lnTo>
                  <a:lnTo>
                    <a:pt x="251" y="136"/>
                  </a:lnTo>
                  <a:lnTo>
                    <a:pt x="256" y="137"/>
                  </a:lnTo>
                  <a:lnTo>
                    <a:pt x="258" y="140"/>
                  </a:lnTo>
                  <a:lnTo>
                    <a:pt x="260" y="143"/>
                  </a:lnTo>
                  <a:lnTo>
                    <a:pt x="260" y="143"/>
                  </a:lnTo>
                  <a:lnTo>
                    <a:pt x="261" y="144"/>
                  </a:lnTo>
                  <a:lnTo>
                    <a:pt x="263" y="144"/>
                  </a:lnTo>
                  <a:lnTo>
                    <a:pt x="270" y="143"/>
                  </a:lnTo>
                  <a:lnTo>
                    <a:pt x="275" y="141"/>
                  </a:lnTo>
                  <a:lnTo>
                    <a:pt x="281" y="141"/>
                  </a:lnTo>
                  <a:lnTo>
                    <a:pt x="281" y="141"/>
                  </a:lnTo>
                  <a:lnTo>
                    <a:pt x="292" y="144"/>
                  </a:lnTo>
                  <a:lnTo>
                    <a:pt x="297" y="147"/>
                  </a:lnTo>
                  <a:lnTo>
                    <a:pt x="300" y="148"/>
                  </a:lnTo>
                  <a:lnTo>
                    <a:pt x="300" y="150"/>
                  </a:lnTo>
                  <a:lnTo>
                    <a:pt x="300" y="150"/>
                  </a:lnTo>
                  <a:lnTo>
                    <a:pt x="301" y="151"/>
                  </a:lnTo>
                  <a:lnTo>
                    <a:pt x="303" y="152"/>
                  </a:lnTo>
                  <a:lnTo>
                    <a:pt x="308" y="151"/>
                  </a:lnTo>
                  <a:lnTo>
                    <a:pt x="324" y="147"/>
                  </a:lnTo>
                  <a:lnTo>
                    <a:pt x="324" y="147"/>
                  </a:lnTo>
                  <a:lnTo>
                    <a:pt x="325" y="144"/>
                  </a:lnTo>
                  <a:lnTo>
                    <a:pt x="328" y="140"/>
                  </a:lnTo>
                  <a:lnTo>
                    <a:pt x="329" y="130"/>
                  </a:lnTo>
                  <a:lnTo>
                    <a:pt x="331" y="119"/>
                  </a:lnTo>
                  <a:lnTo>
                    <a:pt x="332" y="115"/>
                  </a:lnTo>
                  <a:lnTo>
                    <a:pt x="335" y="112"/>
                  </a:lnTo>
                  <a:lnTo>
                    <a:pt x="335" y="112"/>
                  </a:lnTo>
                  <a:close/>
                  <a:moveTo>
                    <a:pt x="369" y="241"/>
                  </a:moveTo>
                  <a:lnTo>
                    <a:pt x="369" y="241"/>
                  </a:lnTo>
                  <a:lnTo>
                    <a:pt x="372" y="244"/>
                  </a:lnTo>
                  <a:lnTo>
                    <a:pt x="376" y="245"/>
                  </a:lnTo>
                  <a:lnTo>
                    <a:pt x="381" y="247"/>
                  </a:lnTo>
                  <a:lnTo>
                    <a:pt x="383" y="248"/>
                  </a:lnTo>
                  <a:lnTo>
                    <a:pt x="383" y="248"/>
                  </a:lnTo>
                  <a:lnTo>
                    <a:pt x="388" y="251"/>
                  </a:lnTo>
                  <a:lnTo>
                    <a:pt x="392" y="252"/>
                  </a:lnTo>
                  <a:lnTo>
                    <a:pt x="397" y="252"/>
                  </a:lnTo>
                  <a:lnTo>
                    <a:pt x="399" y="251"/>
                  </a:lnTo>
                  <a:lnTo>
                    <a:pt x="399" y="250"/>
                  </a:lnTo>
                  <a:lnTo>
                    <a:pt x="399" y="250"/>
                  </a:lnTo>
                  <a:lnTo>
                    <a:pt x="397" y="247"/>
                  </a:lnTo>
                  <a:lnTo>
                    <a:pt x="393" y="244"/>
                  </a:lnTo>
                  <a:lnTo>
                    <a:pt x="383" y="240"/>
                  </a:lnTo>
                  <a:lnTo>
                    <a:pt x="374" y="240"/>
                  </a:lnTo>
                  <a:lnTo>
                    <a:pt x="369" y="240"/>
                  </a:lnTo>
                  <a:lnTo>
                    <a:pt x="369" y="241"/>
                  </a:lnTo>
                  <a:lnTo>
                    <a:pt x="369" y="241"/>
                  </a:lnTo>
                  <a:close/>
                  <a:moveTo>
                    <a:pt x="347" y="219"/>
                  </a:moveTo>
                  <a:lnTo>
                    <a:pt x="347" y="219"/>
                  </a:lnTo>
                  <a:lnTo>
                    <a:pt x="344" y="220"/>
                  </a:lnTo>
                  <a:lnTo>
                    <a:pt x="340" y="222"/>
                  </a:lnTo>
                  <a:lnTo>
                    <a:pt x="336" y="222"/>
                  </a:lnTo>
                  <a:lnTo>
                    <a:pt x="332" y="220"/>
                  </a:lnTo>
                  <a:lnTo>
                    <a:pt x="332" y="220"/>
                  </a:lnTo>
                  <a:lnTo>
                    <a:pt x="331" y="219"/>
                  </a:lnTo>
                  <a:lnTo>
                    <a:pt x="329" y="219"/>
                  </a:lnTo>
                  <a:lnTo>
                    <a:pt x="325" y="222"/>
                  </a:lnTo>
                  <a:lnTo>
                    <a:pt x="324" y="225"/>
                  </a:lnTo>
                  <a:lnTo>
                    <a:pt x="325" y="229"/>
                  </a:lnTo>
                  <a:lnTo>
                    <a:pt x="325" y="229"/>
                  </a:lnTo>
                  <a:lnTo>
                    <a:pt x="328" y="230"/>
                  </a:lnTo>
                  <a:lnTo>
                    <a:pt x="332" y="233"/>
                  </a:lnTo>
                  <a:lnTo>
                    <a:pt x="339" y="234"/>
                  </a:lnTo>
                  <a:lnTo>
                    <a:pt x="343" y="234"/>
                  </a:lnTo>
                  <a:lnTo>
                    <a:pt x="347" y="233"/>
                  </a:lnTo>
                  <a:lnTo>
                    <a:pt x="347" y="233"/>
                  </a:lnTo>
                  <a:lnTo>
                    <a:pt x="356" y="230"/>
                  </a:lnTo>
                  <a:lnTo>
                    <a:pt x="363" y="229"/>
                  </a:lnTo>
                  <a:lnTo>
                    <a:pt x="367" y="229"/>
                  </a:lnTo>
                  <a:lnTo>
                    <a:pt x="368" y="227"/>
                  </a:lnTo>
                  <a:lnTo>
                    <a:pt x="369" y="226"/>
                  </a:lnTo>
                  <a:lnTo>
                    <a:pt x="369" y="226"/>
                  </a:lnTo>
                  <a:lnTo>
                    <a:pt x="369" y="223"/>
                  </a:lnTo>
                  <a:lnTo>
                    <a:pt x="368" y="222"/>
                  </a:lnTo>
                  <a:lnTo>
                    <a:pt x="360" y="218"/>
                  </a:lnTo>
                  <a:lnTo>
                    <a:pt x="351" y="218"/>
                  </a:lnTo>
                  <a:lnTo>
                    <a:pt x="349" y="218"/>
                  </a:lnTo>
                  <a:lnTo>
                    <a:pt x="347" y="219"/>
                  </a:lnTo>
                  <a:lnTo>
                    <a:pt x="347" y="21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51" name="Freeform 177"/>
            <p:cNvSpPr>
              <a:spLocks noEditPoints="1"/>
            </p:cNvSpPr>
            <p:nvPr/>
          </p:nvSpPr>
          <p:spPr bwMode="auto">
            <a:xfrm>
              <a:off x="7646988" y="4200525"/>
              <a:ext cx="79375" cy="28575"/>
            </a:xfrm>
            <a:custGeom>
              <a:avLst/>
              <a:gdLst>
                <a:gd name="T0" fmla="*/ 6 w 50"/>
                <a:gd name="T1" fmla="*/ 14 h 18"/>
                <a:gd name="T2" fmla="*/ 6 w 50"/>
                <a:gd name="T3" fmla="*/ 14 h 18"/>
                <a:gd name="T4" fmla="*/ 0 w 50"/>
                <a:gd name="T5" fmla="*/ 15 h 18"/>
                <a:gd name="T6" fmla="*/ 0 w 50"/>
                <a:gd name="T7" fmla="*/ 15 h 18"/>
                <a:gd name="T8" fmla="*/ 3 w 50"/>
                <a:gd name="T9" fmla="*/ 18 h 18"/>
                <a:gd name="T10" fmla="*/ 5 w 50"/>
                <a:gd name="T11" fmla="*/ 18 h 18"/>
                <a:gd name="T12" fmla="*/ 6 w 50"/>
                <a:gd name="T13" fmla="*/ 18 h 18"/>
                <a:gd name="T14" fmla="*/ 6 w 50"/>
                <a:gd name="T15" fmla="*/ 18 h 18"/>
                <a:gd name="T16" fmla="*/ 7 w 50"/>
                <a:gd name="T17" fmla="*/ 17 h 18"/>
                <a:gd name="T18" fmla="*/ 7 w 50"/>
                <a:gd name="T19" fmla="*/ 14 h 18"/>
                <a:gd name="T20" fmla="*/ 7 w 50"/>
                <a:gd name="T21" fmla="*/ 14 h 18"/>
                <a:gd name="T22" fmla="*/ 6 w 50"/>
                <a:gd name="T23" fmla="*/ 14 h 18"/>
                <a:gd name="T24" fmla="*/ 6 w 50"/>
                <a:gd name="T25" fmla="*/ 14 h 18"/>
                <a:gd name="T26" fmla="*/ 6 w 50"/>
                <a:gd name="T27" fmla="*/ 14 h 18"/>
                <a:gd name="T28" fmla="*/ 6 w 50"/>
                <a:gd name="T29" fmla="*/ 14 h 18"/>
                <a:gd name="T30" fmla="*/ 28 w 50"/>
                <a:gd name="T31" fmla="*/ 3 h 18"/>
                <a:gd name="T32" fmla="*/ 28 w 50"/>
                <a:gd name="T33" fmla="*/ 3 h 18"/>
                <a:gd name="T34" fmla="*/ 24 w 50"/>
                <a:gd name="T35" fmla="*/ 3 h 18"/>
                <a:gd name="T36" fmla="*/ 20 w 50"/>
                <a:gd name="T37" fmla="*/ 6 h 18"/>
                <a:gd name="T38" fmla="*/ 14 w 50"/>
                <a:gd name="T39" fmla="*/ 11 h 18"/>
                <a:gd name="T40" fmla="*/ 14 w 50"/>
                <a:gd name="T41" fmla="*/ 11 h 18"/>
                <a:gd name="T42" fmla="*/ 13 w 50"/>
                <a:gd name="T43" fmla="*/ 11 h 18"/>
                <a:gd name="T44" fmla="*/ 13 w 50"/>
                <a:gd name="T45" fmla="*/ 11 h 18"/>
                <a:gd name="T46" fmla="*/ 17 w 50"/>
                <a:gd name="T47" fmla="*/ 17 h 18"/>
                <a:gd name="T48" fmla="*/ 17 w 50"/>
                <a:gd name="T49" fmla="*/ 17 h 18"/>
                <a:gd name="T50" fmla="*/ 27 w 50"/>
                <a:gd name="T51" fmla="*/ 13 h 18"/>
                <a:gd name="T52" fmla="*/ 36 w 50"/>
                <a:gd name="T53" fmla="*/ 8 h 18"/>
                <a:gd name="T54" fmla="*/ 46 w 50"/>
                <a:gd name="T55" fmla="*/ 4 h 18"/>
                <a:gd name="T56" fmla="*/ 50 w 50"/>
                <a:gd name="T57" fmla="*/ 1 h 18"/>
                <a:gd name="T58" fmla="*/ 50 w 50"/>
                <a:gd name="T59" fmla="*/ 1 h 18"/>
                <a:gd name="T60" fmla="*/ 50 w 50"/>
                <a:gd name="T61" fmla="*/ 0 h 18"/>
                <a:gd name="T62" fmla="*/ 49 w 50"/>
                <a:gd name="T63" fmla="*/ 0 h 18"/>
                <a:gd name="T64" fmla="*/ 43 w 50"/>
                <a:gd name="T65" fmla="*/ 1 h 18"/>
                <a:gd name="T66" fmla="*/ 35 w 50"/>
                <a:gd name="T67" fmla="*/ 1 h 18"/>
                <a:gd name="T68" fmla="*/ 28 w 50"/>
                <a:gd name="T69" fmla="*/ 3 h 18"/>
                <a:gd name="T70" fmla="*/ 28 w 50"/>
                <a:gd name="T71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18">
                  <a:moveTo>
                    <a:pt x="6" y="14"/>
                  </a:moveTo>
                  <a:lnTo>
                    <a:pt x="6" y="14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3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7" y="17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close/>
                  <a:moveTo>
                    <a:pt x="28" y="3"/>
                  </a:moveTo>
                  <a:lnTo>
                    <a:pt x="28" y="3"/>
                  </a:lnTo>
                  <a:lnTo>
                    <a:pt x="24" y="3"/>
                  </a:lnTo>
                  <a:lnTo>
                    <a:pt x="20" y="6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27" y="13"/>
                  </a:lnTo>
                  <a:lnTo>
                    <a:pt x="36" y="8"/>
                  </a:lnTo>
                  <a:lnTo>
                    <a:pt x="46" y="4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0" y="0"/>
                  </a:lnTo>
                  <a:lnTo>
                    <a:pt x="49" y="0"/>
                  </a:lnTo>
                  <a:lnTo>
                    <a:pt x="43" y="1"/>
                  </a:lnTo>
                  <a:lnTo>
                    <a:pt x="35" y="1"/>
                  </a:lnTo>
                  <a:lnTo>
                    <a:pt x="28" y="3"/>
                  </a:lnTo>
                  <a:lnTo>
                    <a:pt x="28" y="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  <p:sp>
          <p:nvSpPr>
            <p:cNvPr id="252" name="Freeform 182"/>
            <p:cNvSpPr>
              <a:spLocks/>
            </p:cNvSpPr>
            <p:nvPr/>
          </p:nvSpPr>
          <p:spPr bwMode="auto">
            <a:xfrm>
              <a:off x="7550151" y="3348038"/>
              <a:ext cx="46038" cy="80963"/>
            </a:xfrm>
            <a:custGeom>
              <a:avLst/>
              <a:gdLst>
                <a:gd name="T0" fmla="*/ 2 w 29"/>
                <a:gd name="T1" fmla="*/ 23 h 51"/>
                <a:gd name="T2" fmla="*/ 2 w 29"/>
                <a:gd name="T3" fmla="*/ 23 h 51"/>
                <a:gd name="T4" fmla="*/ 0 w 29"/>
                <a:gd name="T5" fmla="*/ 30 h 51"/>
                <a:gd name="T6" fmla="*/ 0 w 29"/>
                <a:gd name="T7" fmla="*/ 36 h 51"/>
                <a:gd name="T8" fmla="*/ 2 w 29"/>
                <a:gd name="T9" fmla="*/ 40 h 51"/>
                <a:gd name="T10" fmla="*/ 3 w 29"/>
                <a:gd name="T11" fmla="*/ 44 h 51"/>
                <a:gd name="T12" fmla="*/ 7 w 29"/>
                <a:gd name="T13" fmla="*/ 50 h 51"/>
                <a:gd name="T14" fmla="*/ 10 w 29"/>
                <a:gd name="T15" fmla="*/ 51 h 51"/>
                <a:gd name="T16" fmla="*/ 10 w 29"/>
                <a:gd name="T17" fmla="*/ 51 h 51"/>
                <a:gd name="T18" fmla="*/ 16 w 29"/>
                <a:gd name="T19" fmla="*/ 43 h 51"/>
                <a:gd name="T20" fmla="*/ 23 w 29"/>
                <a:gd name="T21" fmla="*/ 28 h 51"/>
                <a:gd name="T22" fmla="*/ 28 w 29"/>
                <a:gd name="T23" fmla="*/ 11 h 51"/>
                <a:gd name="T24" fmla="*/ 29 w 29"/>
                <a:gd name="T25" fmla="*/ 5 h 51"/>
                <a:gd name="T26" fmla="*/ 29 w 29"/>
                <a:gd name="T27" fmla="*/ 3 h 51"/>
                <a:gd name="T28" fmla="*/ 29 w 29"/>
                <a:gd name="T29" fmla="*/ 3 h 51"/>
                <a:gd name="T30" fmla="*/ 27 w 29"/>
                <a:gd name="T31" fmla="*/ 1 h 51"/>
                <a:gd name="T32" fmla="*/ 24 w 29"/>
                <a:gd name="T33" fmla="*/ 0 h 51"/>
                <a:gd name="T34" fmla="*/ 20 w 29"/>
                <a:gd name="T35" fmla="*/ 1 h 51"/>
                <a:gd name="T36" fmla="*/ 16 w 29"/>
                <a:gd name="T37" fmla="*/ 4 h 51"/>
                <a:gd name="T38" fmla="*/ 11 w 29"/>
                <a:gd name="T39" fmla="*/ 7 h 51"/>
                <a:gd name="T40" fmla="*/ 7 w 29"/>
                <a:gd name="T41" fmla="*/ 12 h 51"/>
                <a:gd name="T42" fmla="*/ 4 w 29"/>
                <a:gd name="T43" fmla="*/ 18 h 51"/>
                <a:gd name="T44" fmla="*/ 2 w 29"/>
                <a:gd name="T45" fmla="*/ 23 h 51"/>
                <a:gd name="T46" fmla="*/ 2 w 29"/>
                <a:gd name="T47" fmla="*/ 2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51">
                  <a:moveTo>
                    <a:pt x="2" y="23"/>
                  </a:moveTo>
                  <a:lnTo>
                    <a:pt x="2" y="23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" y="40"/>
                  </a:lnTo>
                  <a:lnTo>
                    <a:pt x="3" y="44"/>
                  </a:lnTo>
                  <a:lnTo>
                    <a:pt x="7" y="50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16" y="43"/>
                  </a:lnTo>
                  <a:lnTo>
                    <a:pt x="23" y="28"/>
                  </a:lnTo>
                  <a:lnTo>
                    <a:pt x="28" y="11"/>
                  </a:lnTo>
                  <a:lnTo>
                    <a:pt x="29" y="5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7" y="1"/>
                  </a:lnTo>
                  <a:lnTo>
                    <a:pt x="24" y="0"/>
                  </a:lnTo>
                  <a:lnTo>
                    <a:pt x="20" y="1"/>
                  </a:lnTo>
                  <a:lnTo>
                    <a:pt x="16" y="4"/>
                  </a:lnTo>
                  <a:lnTo>
                    <a:pt x="11" y="7"/>
                  </a:lnTo>
                  <a:lnTo>
                    <a:pt x="7" y="12"/>
                  </a:lnTo>
                  <a:lnTo>
                    <a:pt x="4" y="18"/>
                  </a:lnTo>
                  <a:lnTo>
                    <a:pt x="2" y="23"/>
                  </a:lnTo>
                  <a:lnTo>
                    <a:pt x="2" y="2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GB" sz="1662"/>
            </a:p>
          </p:txBody>
        </p:sp>
      </p:grpSp>
      <p:sp>
        <p:nvSpPr>
          <p:cNvPr id="169" name="Rectangle 168"/>
          <p:cNvSpPr>
            <a:spLocks/>
          </p:cNvSpPr>
          <p:nvPr/>
        </p:nvSpPr>
        <p:spPr bwMode="auto">
          <a:xfrm>
            <a:off x="4851284" y="2229837"/>
            <a:ext cx="99692" cy="99692"/>
          </a:xfrm>
          <a:prstGeom prst="rect">
            <a:avLst/>
          </a:prstGeom>
          <a:noFill/>
          <a:ln w="9525">
            <a:solidFill>
              <a:srgbClr val="4A4C46"/>
            </a:solidFill>
            <a:miter lim="800000"/>
            <a:headEnd/>
            <a:tailEnd/>
          </a:ln>
        </p:spPr>
        <p:txBody>
          <a:bodyPr lIns="66462" tIns="66462" rIns="66462" bIns="66462"/>
          <a:lstStyle/>
          <a:p>
            <a:pPr>
              <a:spcBef>
                <a:spcPts val="277"/>
              </a:spcBef>
              <a:spcAft>
                <a:spcPts val="277"/>
              </a:spcAft>
              <a:buSzPct val="80000"/>
            </a:pPr>
            <a:endParaRPr lang="en-GB" sz="923" b="1" dirty="0"/>
          </a:p>
        </p:txBody>
      </p:sp>
      <p:sp>
        <p:nvSpPr>
          <p:cNvPr id="177" name="TextBox 176"/>
          <p:cNvSpPr txBox="1"/>
          <p:nvPr/>
        </p:nvSpPr>
        <p:spPr bwMode="gray">
          <a:xfrm>
            <a:off x="5304609" y="2190030"/>
            <a:ext cx="534435" cy="2271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738" dirty="0"/>
              <a:t>APAC </a:t>
            </a:r>
          </a:p>
          <a:p>
            <a:pPr algn="ctr"/>
            <a:r>
              <a:rPr lang="en-GB" sz="738" dirty="0"/>
              <a:t>Taipei office</a:t>
            </a:r>
          </a:p>
        </p:txBody>
      </p:sp>
      <p:pic>
        <p:nvPicPr>
          <p:cNvPr id="186" name="Picture 23" descr="M:\info\lped\- Grafisk Support\Generation\Powerpoint\- art\i_offshoreVin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142237" y="3877923"/>
            <a:ext cx="176213" cy="135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0" name="TextBox 179"/>
          <p:cNvSpPr txBox="1"/>
          <p:nvPr/>
        </p:nvSpPr>
        <p:spPr bwMode="gray">
          <a:xfrm>
            <a:off x="3597490" y="4422658"/>
            <a:ext cx="556243" cy="1135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38" dirty="0"/>
              <a:t>Borssele 1+2</a:t>
            </a:r>
          </a:p>
        </p:txBody>
      </p:sp>
      <p:pic>
        <p:nvPicPr>
          <p:cNvPr id="181" name="Picture 23" descr="M:\info\lped\- Grafisk Support\Generation\Powerpoint\- art\i_offshoreVin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562357" y="4527478"/>
            <a:ext cx="176213" cy="135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3" name="Picture 23" descr="M:\info\lped\- Grafisk Support\Generation\Powerpoint\- art\i_offshoreVin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632852" y="4540854"/>
            <a:ext cx="176213" cy="135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2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425584" y="3727373"/>
            <a:ext cx="176213" cy="148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286878" y="3797466"/>
            <a:ext cx="176213" cy="148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17728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482155" y="1990667"/>
            <a:ext cx="4389768" cy="144655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Scope for grid connection in Euro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“HVAC vs HVDC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Export cab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Interlin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0001" y="338400"/>
            <a:ext cx="8427248" cy="338554"/>
          </a:xfrm>
        </p:spPr>
        <p:txBody>
          <a:bodyPr/>
          <a:lstStyle/>
          <a:p>
            <a:r>
              <a:rPr lang="en-US" dirty="0"/>
              <a:t>Key learnings from pioneering offshore wind transmiss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76794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97896286"/>
              </p:ext>
            </p:extLst>
          </p:nvPr>
        </p:nvGraphicFramePr>
        <p:xfrm>
          <a:off x="450928" y="3694876"/>
          <a:ext cx="8242147" cy="160840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736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736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7369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2296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5073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37369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37369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422031">
                <a:tc>
                  <a:txBody>
                    <a:bodyPr/>
                    <a:lstStyle/>
                    <a:p>
                      <a:r>
                        <a:rPr lang="en-GB" sz="1100" noProof="0" dirty="0">
                          <a:solidFill>
                            <a:schemeClr val="bg1"/>
                          </a:solidFill>
                        </a:rPr>
                        <a:t>Transmission System Operator</a:t>
                      </a:r>
                    </a:p>
                  </a:txBody>
                  <a:tcPr marL="84406" marR="84406" marT="42203" marB="42203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0">
                          <a:solidFill>
                            <a:schemeClr val="bg1"/>
                          </a:solidFill>
                        </a:rPr>
                        <a:t>Onshore</a:t>
                      </a:r>
                    </a:p>
                    <a:p>
                      <a:r>
                        <a:rPr lang="en-GB" sz="1100" noProof="0">
                          <a:solidFill>
                            <a:schemeClr val="bg1"/>
                          </a:solidFill>
                        </a:rPr>
                        <a:t>substation</a:t>
                      </a:r>
                    </a:p>
                  </a:txBody>
                  <a:tcPr marL="84406" marR="84406" marT="42203" marB="42203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0">
                          <a:solidFill>
                            <a:schemeClr val="bg1"/>
                          </a:solidFill>
                        </a:rPr>
                        <a:t>Export cable</a:t>
                      </a:r>
                    </a:p>
                  </a:txBody>
                  <a:tcPr marL="84406" marR="84406" marT="42203" marB="42203"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1100" noProof="0">
                          <a:solidFill>
                            <a:schemeClr val="bg1"/>
                          </a:solidFill>
                        </a:rPr>
                        <a:t>Offshore Substation</a:t>
                      </a:r>
                    </a:p>
                  </a:txBody>
                  <a:tcPr marL="84406" marR="84406" marT="42203" marB="42203"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noProof="0">
                          <a:solidFill>
                            <a:schemeClr val="bg1"/>
                          </a:solidFill>
                        </a:rPr>
                        <a:t>Array cables</a:t>
                      </a:r>
                    </a:p>
                  </a:txBody>
                  <a:tcPr marL="84406" marR="84406" marT="42203" marB="42203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0">
                          <a:solidFill>
                            <a:schemeClr val="bg1"/>
                          </a:solidFill>
                        </a:rPr>
                        <a:t>Wind</a:t>
                      </a:r>
                      <a:r>
                        <a:rPr lang="en-GB" sz="1100" baseline="0" noProof="0">
                          <a:solidFill>
                            <a:schemeClr val="bg1"/>
                          </a:solidFill>
                        </a:rPr>
                        <a:t> turbines</a:t>
                      </a:r>
                      <a:endParaRPr lang="en-GB" sz="1100" noProof="0">
                        <a:solidFill>
                          <a:schemeClr val="bg1"/>
                        </a:solidFill>
                      </a:endParaRPr>
                    </a:p>
                  </a:txBody>
                  <a:tcPr marL="84406" marR="84406" marT="42203" marB="42203"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2314">
                <a:tc>
                  <a:txBody>
                    <a:bodyPr/>
                    <a:lstStyle/>
                    <a:p>
                      <a:r>
                        <a:rPr lang="en-GB" sz="1100" noProof="0" dirty="0"/>
                        <a:t>UK</a:t>
                      </a:r>
                      <a:r>
                        <a:rPr lang="en-GB" sz="1100" baseline="0" noProof="0" dirty="0"/>
                        <a:t> NGET</a:t>
                      </a:r>
                      <a:endParaRPr lang="en-GB" sz="1100" noProof="0" dirty="0"/>
                    </a:p>
                  </a:txBody>
                  <a:tcPr marL="84406" marR="84406" marT="42203" marB="42203" anchor="ctr"/>
                </a:tc>
                <a:tc gridSpan="4">
                  <a:txBody>
                    <a:bodyPr/>
                    <a:lstStyle/>
                    <a:p>
                      <a:pPr lvl="1" algn="l"/>
                      <a:r>
                        <a:rPr lang="en-GB" sz="1100" noProof="0" dirty="0"/>
                        <a:t>Wind Farm scope / divested to OFTO </a:t>
                      </a:r>
                      <a:r>
                        <a:rPr lang="en-GB" sz="1100" baseline="30000" noProof="0" dirty="0"/>
                        <a:t>1)</a:t>
                      </a:r>
                    </a:p>
                  </a:txBody>
                  <a:tcPr marL="84406" marR="84406" marT="42203" marB="42203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vl="1" algn="l"/>
                      <a:r>
                        <a:rPr lang="en-GB" sz="1100" noProof="0" dirty="0"/>
                        <a:t>Wind Farm scope</a:t>
                      </a:r>
                    </a:p>
                  </a:txBody>
                  <a:tcPr marL="84406" marR="84406" marT="42203" marB="42203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22031">
                <a:tc>
                  <a:txBody>
                    <a:bodyPr/>
                    <a:lstStyle/>
                    <a:p>
                      <a:r>
                        <a:rPr lang="en-GB" sz="1100" noProof="0" dirty="0"/>
                        <a:t>DE TENNE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noProof="0" dirty="0"/>
                        <a:t>FR</a:t>
                      </a:r>
                      <a:r>
                        <a:rPr lang="en-GB" sz="1100" baseline="0" noProof="0" dirty="0"/>
                        <a:t> RTE</a:t>
                      </a:r>
                      <a:endParaRPr lang="en-GB" sz="1100" noProof="0" dirty="0"/>
                    </a:p>
                  </a:txBody>
                  <a:tcPr marL="84406" marR="84406" marT="42203" marB="42203" anchor="ctr"/>
                </a:tc>
                <a:tc gridSpan="3">
                  <a:txBody>
                    <a:bodyPr/>
                    <a:lstStyle/>
                    <a:p>
                      <a:pPr lvl="1" algn="l"/>
                      <a:r>
                        <a:rPr lang="en-GB" sz="1100" noProof="0" dirty="0"/>
                        <a:t>Offshore TSO scope</a:t>
                      </a:r>
                    </a:p>
                  </a:txBody>
                  <a:tcPr marL="84406" marR="84406" marT="42203" marB="42203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da-DK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3">
                  <a:txBody>
                    <a:bodyPr/>
                    <a:lstStyle/>
                    <a:p>
                      <a:pPr lvl="1" algn="l"/>
                      <a:r>
                        <a:rPr lang="en-GB" sz="1100" noProof="0" dirty="0"/>
                        <a:t>Wind Farm scope</a:t>
                      </a:r>
                    </a:p>
                  </a:txBody>
                  <a:tcPr marL="84406" marR="84406" marT="42203" marB="4220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12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22031">
                <a:tc>
                  <a:txBody>
                    <a:bodyPr/>
                    <a:lstStyle/>
                    <a:p>
                      <a:r>
                        <a:rPr lang="en-GB" sz="1100" noProof="0" dirty="0"/>
                        <a:t>DK Energinet.dk</a:t>
                      </a:r>
                    </a:p>
                    <a:p>
                      <a:r>
                        <a:rPr lang="en-GB" sz="1100" noProof="0" dirty="0"/>
                        <a:t>NL TenneT</a:t>
                      </a:r>
                    </a:p>
                  </a:txBody>
                  <a:tcPr marL="84406" marR="84406" marT="42203" marB="42203" anchor="ctr"/>
                </a:tc>
                <a:tc gridSpan="4"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noProof="0" dirty="0"/>
                        <a:t>TSO scope / Offshore TSO scope</a:t>
                      </a:r>
                    </a:p>
                  </a:txBody>
                  <a:tcPr marL="84406" marR="84406" marT="42203" marB="42203" anchor="ctr"/>
                </a:tc>
                <a:tc hMerge="1">
                  <a:txBody>
                    <a:bodyPr/>
                    <a:lstStyle/>
                    <a:p>
                      <a:endParaRPr lang="da-DK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sz="1200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vl="1" algn="l"/>
                      <a:r>
                        <a:rPr lang="en-GB" sz="1100" noProof="0" dirty="0"/>
                        <a:t>Wind Farm scope</a:t>
                      </a:r>
                    </a:p>
                  </a:txBody>
                  <a:tcPr marL="84406" marR="84406" marT="42203" marB="42203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Scope of offshore grid connection in Northern Europe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631" y="1700808"/>
            <a:ext cx="8440615" cy="1749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05878" y="6030808"/>
            <a:ext cx="3988135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8" baseline="30000" dirty="0"/>
              <a:t>1)</a:t>
            </a:r>
            <a:r>
              <a:rPr lang="en-GB" sz="1108" dirty="0"/>
              <a:t> Offshore Transmission Owner (3rd party)</a:t>
            </a:r>
          </a:p>
        </p:txBody>
      </p:sp>
      <p:sp>
        <p:nvSpPr>
          <p:cNvPr id="6" name="Oval 5"/>
          <p:cNvSpPr/>
          <p:nvPr/>
        </p:nvSpPr>
        <p:spPr>
          <a:xfrm rot="20484329">
            <a:off x="4453958" y="4966722"/>
            <a:ext cx="938166" cy="316507"/>
          </a:xfrm>
          <a:prstGeom prst="ellipse">
            <a:avLst/>
          </a:prstGeom>
          <a:noFill/>
          <a:ln w="9525">
            <a:solidFill>
              <a:srgbClr val="5582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rgbClr val="558232"/>
                </a:solidFill>
              </a:rPr>
              <a:t>COMPENSATION</a:t>
            </a:r>
          </a:p>
        </p:txBody>
      </p:sp>
      <p:sp>
        <p:nvSpPr>
          <p:cNvPr id="9" name="Oval 8"/>
          <p:cNvSpPr/>
          <p:nvPr/>
        </p:nvSpPr>
        <p:spPr>
          <a:xfrm rot="20484329">
            <a:off x="4453960" y="4506419"/>
            <a:ext cx="938166" cy="316507"/>
          </a:xfrm>
          <a:prstGeom prst="ellipse">
            <a:avLst/>
          </a:prstGeom>
          <a:noFill/>
          <a:ln w="9525">
            <a:solidFill>
              <a:srgbClr val="5582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rgbClr val="558232"/>
                </a:solidFill>
              </a:rPr>
              <a:t>COMPENSATION</a:t>
            </a:r>
          </a:p>
        </p:txBody>
      </p:sp>
      <p:sp>
        <p:nvSpPr>
          <p:cNvPr id="10" name="Oval 9"/>
          <p:cNvSpPr/>
          <p:nvPr/>
        </p:nvSpPr>
        <p:spPr>
          <a:xfrm rot="20484329">
            <a:off x="4453959" y="4123695"/>
            <a:ext cx="938166" cy="316507"/>
          </a:xfrm>
          <a:prstGeom prst="ellipse">
            <a:avLst/>
          </a:prstGeom>
          <a:noFill/>
          <a:ln w="9525">
            <a:solidFill>
              <a:srgbClr val="7D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rgbClr val="C30F10"/>
                </a:solidFill>
              </a:rPr>
              <a:t>NO COMPENSATION</a:t>
            </a:r>
          </a:p>
        </p:txBody>
      </p:sp>
      <p:pic>
        <p:nvPicPr>
          <p:cNvPr id="13" name="Picture 12" descr="Файл:&lt;strong&gt;UK flag&lt;/strong&gt;.jpg — Уикипедия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579" y="4121407"/>
            <a:ext cx="660037" cy="330019"/>
          </a:xfrm>
          <a:prstGeom prst="rect">
            <a:avLst/>
          </a:prstGeom>
        </p:spPr>
      </p:pic>
      <p:pic>
        <p:nvPicPr>
          <p:cNvPr id="14" name="Picture 13" descr="File:&lt;strong&gt;Flag&lt;/strong&gt; of Germany.svg - Wikipedia, the free encyclopedia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639" y="4451426"/>
            <a:ext cx="702368" cy="421421"/>
          </a:xfrm>
          <a:prstGeom prst="rect">
            <a:avLst/>
          </a:prstGeom>
        </p:spPr>
      </p:pic>
      <p:pic>
        <p:nvPicPr>
          <p:cNvPr id="15" name="Picture 14" descr="Kostenlose Illustration: Französische Flagge, Flagge - Kostenloses ...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007" y="4458353"/>
            <a:ext cx="682689" cy="414494"/>
          </a:xfrm>
          <a:prstGeom prst="rect">
            <a:avLst/>
          </a:prstGeom>
        </p:spPr>
      </p:pic>
      <p:pic>
        <p:nvPicPr>
          <p:cNvPr id="16" name="Picture 15" descr="ГЕТО СРБИЈА | ПРАВА ИСТИНА ЈЕ СКРИВЕНА ...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639" y="4872847"/>
            <a:ext cx="702366" cy="43043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280" y="4879775"/>
            <a:ext cx="696415" cy="41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3326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animBg="1"/>
      <p:bldP spid="1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9464" y="476672"/>
            <a:ext cx="8533998" cy="677108"/>
          </a:xfrm>
        </p:spPr>
        <p:txBody>
          <a:bodyPr/>
          <a:lstStyle/>
          <a:p>
            <a:r>
              <a:rPr lang="en-GB" dirty="0"/>
              <a:t>HVAC vs HVDC, based on </a:t>
            </a:r>
            <a:r>
              <a:rPr lang="en-GB" dirty="0" err="1"/>
              <a:t>Hornsea</a:t>
            </a:r>
            <a:r>
              <a:rPr lang="en-GB" dirty="0"/>
              <a:t> “One” 1,2 GW, 160 – 190 km 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7134380" y="4760363"/>
            <a:ext cx="1836204" cy="1117657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prstClr val="white"/>
              </a:solidFill>
              <a:cs typeface="Arial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42" name="Content Placeholder 1"/>
              <p:cNvSpPr>
                <a:spLocks noGrp="1"/>
              </p:cNvSpPr>
              <p:nvPr>
                <p:ph idx="1"/>
              </p:nvPr>
            </p:nvSpPr>
            <p:spPr>
              <a:xfrm>
                <a:off x="1211814" y="5456003"/>
                <a:ext cx="3405229" cy="997334"/>
              </a:xfrm>
            </p:spPr>
            <p:txBody>
              <a:bodyPr/>
              <a:lstStyle/>
              <a:p>
                <a:r>
                  <a:rPr lang="en-GB" sz="1800" b="1" dirty="0"/>
                  <a:t>HVDC/HVAC break even between 100 – 200 km. Distance is reducing</a:t>
                </a:r>
                <a14:m>
                  <m:oMath xmlns:m="http://schemas.openxmlformats.org/officeDocument/2006/math" xmlns="">
                    <m:r>
                      <a:rPr lang="en-US" sz="1800" b="1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endParaRPr lang="en-GB" sz="1800" b="1" dirty="0"/>
              </a:p>
              <a:p>
                <a:endParaRPr lang="en-GB" dirty="0"/>
              </a:p>
              <a:p>
                <a:endParaRPr lang="en-GB" dirty="0"/>
              </a:p>
            </p:txBody>
          </p:sp>
        </mc:Choice>
        <mc:Fallback xmlns="">
          <p:sp>
            <p:nvSpPr>
              <p:cNvPr id="342" name="Content Placeholder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211814" y="5456003"/>
                <a:ext cx="3405229" cy="997334"/>
              </a:xfrm>
              <a:blipFill>
                <a:blip r:embed="rId5"/>
                <a:stretch>
                  <a:fillRect l="-4301" t="-7927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8650603"/>
              </p:ext>
            </p:extLst>
          </p:nvPr>
        </p:nvGraphicFramePr>
        <p:xfrm>
          <a:off x="326114" y="1270313"/>
          <a:ext cx="8340699" cy="36982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27689">
                  <a:extLst>
                    <a:ext uri="{9D8B030D-6E8A-4147-A177-3AD203B41FA5}">
                      <a16:colId xmlns:a16="http://schemas.microsoft.com/office/drawing/2014/main" xmlns="" val="1544022850"/>
                    </a:ext>
                  </a:extLst>
                </a:gridCol>
                <a:gridCol w="3456505">
                  <a:extLst>
                    <a:ext uri="{9D8B030D-6E8A-4147-A177-3AD203B41FA5}">
                      <a16:colId xmlns:a16="http://schemas.microsoft.com/office/drawing/2014/main" xmlns="" val="2477831618"/>
                    </a:ext>
                  </a:extLst>
                </a:gridCol>
                <a:gridCol w="3456505">
                  <a:extLst>
                    <a:ext uri="{9D8B030D-6E8A-4147-A177-3AD203B41FA5}">
                      <a16:colId xmlns:a16="http://schemas.microsoft.com/office/drawing/2014/main" xmlns="" val="1835527628"/>
                    </a:ext>
                  </a:extLst>
                </a:gridCol>
              </a:tblGrid>
              <a:tr h="28135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da-DK" sz="2000" dirty="0">
                        <a:effectLst/>
                        <a:latin typeface="+mj-lt"/>
                      </a:endParaRPr>
                    </a:p>
                  </a:txBody>
                  <a:tcPr marL="8137" marR="8137" marT="4068" marB="4068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2000" dirty="0">
                          <a:effectLst/>
                          <a:latin typeface="+mj-lt"/>
                        </a:rPr>
                        <a:t>HVDC (VSC)</a:t>
                      </a:r>
                      <a:endParaRPr lang="da-DK" sz="20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8137" marR="8137" marT="4068" marB="4068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2000">
                          <a:effectLst/>
                          <a:latin typeface="+mj-lt"/>
                        </a:rPr>
                        <a:t>HVAC</a:t>
                      </a:r>
                      <a:endParaRPr lang="da-DK" sz="200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8137" marR="8137" marT="4068" marB="4068"/>
                </a:tc>
                <a:extLst>
                  <a:ext uri="{0D108BD9-81ED-4DB2-BD59-A6C34878D82A}">
                    <a16:rowId xmlns:a16="http://schemas.microsoft.com/office/drawing/2014/main" xmlns="" val="2304478537"/>
                  </a:ext>
                </a:extLst>
              </a:tr>
              <a:tr h="28135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2000" dirty="0">
                          <a:effectLst/>
                          <a:latin typeface="+mj-lt"/>
                        </a:rPr>
                        <a:t>CAPEX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a-DK" sz="20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8137" marR="8137" marT="4068" marB="4068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2000">
                          <a:effectLst/>
                          <a:latin typeface="+mj-lt"/>
                        </a:rPr>
                        <a:t>Higher</a:t>
                      </a:r>
                      <a:endParaRPr lang="da-DK" sz="200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8137" marR="8137" marT="4068" marB="4068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2000">
                          <a:effectLst/>
                          <a:latin typeface="+mj-lt"/>
                        </a:rPr>
                        <a:t>Potential for lower</a:t>
                      </a:r>
                      <a:endParaRPr lang="da-DK" sz="200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8137" marR="8137" marT="4068" marB="4068"/>
                </a:tc>
                <a:extLst>
                  <a:ext uri="{0D108BD9-81ED-4DB2-BD59-A6C34878D82A}">
                    <a16:rowId xmlns:a16="http://schemas.microsoft.com/office/drawing/2014/main" xmlns="" val="912356084"/>
                  </a:ext>
                </a:extLst>
              </a:tr>
              <a:tr h="32398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2000" dirty="0">
                          <a:effectLst/>
                          <a:latin typeface="+mj-lt"/>
                        </a:rPr>
                        <a:t>OPEX</a:t>
                      </a:r>
                      <a:endParaRPr lang="da-DK" sz="20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8137" marR="8137" marT="4068" marB="4068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2000" dirty="0">
                          <a:effectLst/>
                          <a:latin typeface="+mj-lt"/>
                        </a:rPr>
                        <a:t>Lower, due to electrical losses, but higher maintenance costs offshore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a-DK" sz="20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8137" marR="8137" marT="4068" marB="4068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2000" dirty="0">
                          <a:effectLst/>
                          <a:latin typeface="+mj-lt"/>
                        </a:rPr>
                        <a:t>Higher, due to electrical losses</a:t>
                      </a:r>
                      <a:endParaRPr lang="da-DK" sz="20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8137" marR="8137" marT="4068" marB="4068"/>
                </a:tc>
                <a:extLst>
                  <a:ext uri="{0D108BD9-81ED-4DB2-BD59-A6C34878D82A}">
                    <a16:rowId xmlns:a16="http://schemas.microsoft.com/office/drawing/2014/main" xmlns="" val="2948479096"/>
                  </a:ext>
                </a:extLst>
              </a:tr>
              <a:tr h="28135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2000" dirty="0">
                          <a:effectLst/>
                          <a:latin typeface="+mj-lt"/>
                        </a:rPr>
                        <a:t>Availability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da-DK" sz="20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8137" marR="8137" marT="4068" marB="4068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2000" dirty="0">
                          <a:effectLst/>
                          <a:latin typeface="+mj-lt"/>
                        </a:rPr>
                        <a:t>Lower</a:t>
                      </a:r>
                      <a:endParaRPr lang="da-DK" sz="20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8137" marR="8137" marT="4068" marB="4068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2000">
                          <a:effectLst/>
                          <a:latin typeface="+mj-lt"/>
                        </a:rPr>
                        <a:t>Potential for higher</a:t>
                      </a:r>
                      <a:endParaRPr lang="da-DK" sz="200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8137" marR="8137" marT="4068" marB="4068"/>
                </a:tc>
                <a:extLst>
                  <a:ext uri="{0D108BD9-81ED-4DB2-BD59-A6C34878D82A}">
                    <a16:rowId xmlns:a16="http://schemas.microsoft.com/office/drawing/2014/main" xmlns="" val="2078618328"/>
                  </a:ext>
                </a:extLst>
              </a:tr>
              <a:tr h="51339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2000" dirty="0">
                          <a:effectLst/>
                          <a:latin typeface="+mj-lt"/>
                        </a:rPr>
                        <a:t>Section able</a:t>
                      </a:r>
                      <a:endParaRPr lang="da-DK" sz="20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8137" marR="8137" marT="4068" marB="4068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2000" dirty="0">
                          <a:effectLst/>
                          <a:latin typeface="+mj-lt"/>
                        </a:rPr>
                        <a:t>Not able to section  without significant extra cost</a:t>
                      </a:r>
                      <a:endParaRPr lang="da-DK" sz="20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8137" marR="8137" marT="4068" marB="4068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2000" dirty="0">
                          <a:effectLst/>
                          <a:latin typeface="+mj-lt"/>
                        </a:rPr>
                        <a:t>Potentially split in 3 separate systems and stage investments</a:t>
                      </a:r>
                      <a:endParaRPr lang="da-DK" sz="20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8137" marR="8137" marT="4068" marB="4068"/>
                </a:tc>
                <a:extLst>
                  <a:ext uri="{0D108BD9-81ED-4DB2-BD59-A6C34878D82A}">
                    <a16:rowId xmlns:a16="http://schemas.microsoft.com/office/drawing/2014/main" xmlns="" val="26259393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31978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Hornsea</a:t>
            </a:r>
            <a:r>
              <a:rPr lang="en-GB" dirty="0"/>
              <a:t> One HVAC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805936" y="3193976"/>
            <a:ext cx="72008" cy="576064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a-DK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6922053" y="3215943"/>
            <a:ext cx="60391" cy="576064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a-DK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949952" y="3265984"/>
            <a:ext cx="432048" cy="432048"/>
          </a:xfrm>
          <a:prstGeom prst="ellipse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a-DK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8" name="Oval 7"/>
          <p:cNvSpPr/>
          <p:nvPr/>
        </p:nvSpPr>
        <p:spPr bwMode="auto">
          <a:xfrm>
            <a:off x="1187730" y="3265984"/>
            <a:ext cx="432048" cy="432048"/>
          </a:xfrm>
          <a:prstGeom prst="ellipse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a-DK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2561889" y="3215943"/>
            <a:ext cx="72008" cy="576064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a-DK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Isosceles Triangle 9"/>
          <p:cNvSpPr/>
          <p:nvPr/>
        </p:nvSpPr>
        <p:spPr bwMode="auto">
          <a:xfrm rot="5400000">
            <a:off x="2679281" y="3427091"/>
            <a:ext cx="216024" cy="144016"/>
          </a:xfrm>
          <a:prstGeom prst="triangle">
            <a:avLst/>
          </a:prstGeom>
          <a:solidFill>
            <a:schemeClr val="accent5">
              <a:lumMod val="5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a-DK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1" name="Isosceles Triangle 10"/>
          <p:cNvSpPr/>
          <p:nvPr/>
        </p:nvSpPr>
        <p:spPr bwMode="auto">
          <a:xfrm rot="5400000">
            <a:off x="3375713" y="3431966"/>
            <a:ext cx="216024" cy="144016"/>
          </a:xfrm>
          <a:prstGeom prst="triangle">
            <a:avLst/>
          </a:prstGeom>
          <a:solidFill>
            <a:schemeClr val="accent5">
              <a:lumMod val="5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a-DK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3014523" y="3395962"/>
            <a:ext cx="1460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9765" y="3394386"/>
            <a:ext cx="1460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4" name="Straight Connector 13"/>
          <p:cNvCxnSpPr>
            <a:stCxn id="20" idx="3"/>
            <a:endCxn id="78" idx="1"/>
          </p:cNvCxnSpPr>
          <p:nvPr/>
        </p:nvCxnSpPr>
        <p:spPr bwMode="auto">
          <a:xfrm>
            <a:off x="2345568" y="3482008"/>
            <a:ext cx="2879611" cy="34833"/>
          </a:xfrm>
          <a:prstGeom prst="line">
            <a:avLst/>
          </a:prstGeom>
          <a:solidFill>
            <a:schemeClr val="accent2"/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5" name="Curved Connector 14"/>
          <p:cNvCxnSpPr/>
          <p:nvPr/>
        </p:nvCxnSpPr>
        <p:spPr bwMode="auto">
          <a:xfrm rot="16200000" flipH="1">
            <a:off x="3065948" y="3467970"/>
            <a:ext cx="432048" cy="72010"/>
          </a:xfrm>
          <a:prstGeom prst="curvedConnector3">
            <a:avLst>
              <a:gd name="adj1" fmla="val 50000"/>
            </a:avLst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6" name="Straight Connector 15"/>
          <p:cNvCxnSpPr>
            <a:stCxn id="7" idx="2"/>
          </p:cNvCxnSpPr>
          <p:nvPr/>
        </p:nvCxnSpPr>
        <p:spPr bwMode="auto">
          <a:xfrm flipH="1">
            <a:off x="520136" y="3482008"/>
            <a:ext cx="429816" cy="0"/>
          </a:xfrm>
          <a:prstGeom prst="line">
            <a:avLst/>
          </a:prstGeom>
          <a:solidFill>
            <a:schemeClr val="accent2"/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7" name="Rectangle 16"/>
          <p:cNvSpPr/>
          <p:nvPr/>
        </p:nvSpPr>
        <p:spPr bwMode="auto">
          <a:xfrm>
            <a:off x="7518383" y="3215943"/>
            <a:ext cx="51742" cy="601886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a-DK" dirty="0">
              <a:solidFill>
                <a:prstClr val="white"/>
              </a:solidFill>
              <a:cs typeface="Arial" pitchFamily="34" charset="0"/>
            </a:endParaRPr>
          </a:p>
        </p:txBody>
      </p:sp>
      <p:cxnSp>
        <p:nvCxnSpPr>
          <p:cNvPr id="18" name="Straight Connector 17"/>
          <p:cNvCxnSpPr>
            <a:stCxn id="6" idx="1"/>
            <a:endCxn id="6" idx="1"/>
          </p:cNvCxnSpPr>
          <p:nvPr/>
        </p:nvCxnSpPr>
        <p:spPr bwMode="auto">
          <a:xfrm>
            <a:off x="6922053" y="3503975"/>
            <a:ext cx="0" cy="0"/>
          </a:xfrm>
          <a:prstGeom prst="line">
            <a:avLst/>
          </a:prstGeom>
          <a:solidFill>
            <a:schemeClr val="accent2"/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</p:spPr>
      </p:cxnSp>
      <p:grpSp>
        <p:nvGrpSpPr>
          <p:cNvPr id="19" name="Group 18"/>
          <p:cNvGrpSpPr>
            <a:grpSpLocks noChangeAspect="1"/>
          </p:cNvGrpSpPr>
          <p:nvPr/>
        </p:nvGrpSpPr>
        <p:grpSpPr>
          <a:xfrm>
            <a:off x="1762302" y="3229347"/>
            <a:ext cx="583266" cy="505321"/>
            <a:chOff x="1624235" y="4718055"/>
            <a:chExt cx="720080" cy="623853"/>
          </a:xfrm>
        </p:grpSpPr>
        <p:sp>
          <p:nvSpPr>
            <p:cNvPr id="20" name="Rectangle 19"/>
            <p:cNvSpPr/>
            <p:nvPr/>
          </p:nvSpPr>
          <p:spPr bwMode="auto">
            <a:xfrm>
              <a:off x="1624235" y="4718055"/>
              <a:ext cx="720080" cy="623853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cxnSp>
          <p:nvCxnSpPr>
            <p:cNvPr id="21" name="Straight Connector 20"/>
            <p:cNvCxnSpPr/>
            <p:nvPr/>
          </p:nvCxnSpPr>
          <p:spPr bwMode="auto">
            <a:xfrm flipV="1">
              <a:off x="1624235" y="4718056"/>
              <a:ext cx="720080" cy="623852"/>
            </a:xfrm>
            <a:prstGeom prst="line">
              <a:avLst/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cxnSp>
        <p:nvCxnSpPr>
          <p:cNvPr id="22" name="Straight Connector 21"/>
          <p:cNvCxnSpPr>
            <a:stCxn id="20" idx="1"/>
            <a:endCxn id="8" idx="6"/>
          </p:cNvCxnSpPr>
          <p:nvPr/>
        </p:nvCxnSpPr>
        <p:spPr bwMode="auto">
          <a:xfrm flipH="1">
            <a:off x="1619778" y="3482008"/>
            <a:ext cx="142524" cy="0"/>
          </a:xfrm>
          <a:prstGeom prst="line">
            <a:avLst/>
          </a:prstGeom>
          <a:solidFill>
            <a:schemeClr val="accent2"/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</p:spPr>
      </p:cxnSp>
      <p:grpSp>
        <p:nvGrpSpPr>
          <p:cNvPr id="23" name="Group 22"/>
          <p:cNvGrpSpPr>
            <a:grpSpLocks noChangeAspect="1"/>
          </p:cNvGrpSpPr>
          <p:nvPr/>
        </p:nvGrpSpPr>
        <p:grpSpPr>
          <a:xfrm>
            <a:off x="4585752" y="3264751"/>
            <a:ext cx="583266" cy="505321"/>
            <a:chOff x="4447685" y="4709675"/>
            <a:chExt cx="720080" cy="623853"/>
          </a:xfrm>
        </p:grpSpPr>
        <p:sp>
          <p:nvSpPr>
            <p:cNvPr id="24" name="Rectangle 23"/>
            <p:cNvSpPr/>
            <p:nvPr/>
          </p:nvSpPr>
          <p:spPr bwMode="auto">
            <a:xfrm>
              <a:off x="4447685" y="4709675"/>
              <a:ext cx="720080" cy="623853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cxnSp>
          <p:nvCxnSpPr>
            <p:cNvPr id="25" name="Straight Connector 24"/>
            <p:cNvCxnSpPr/>
            <p:nvPr/>
          </p:nvCxnSpPr>
          <p:spPr bwMode="auto">
            <a:xfrm flipV="1">
              <a:off x="4447685" y="4709676"/>
              <a:ext cx="720080" cy="623852"/>
            </a:xfrm>
            <a:prstGeom prst="line">
              <a:avLst/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grpSp>
        <p:nvGrpSpPr>
          <p:cNvPr id="26" name="Group 25"/>
          <p:cNvGrpSpPr/>
          <p:nvPr/>
        </p:nvGrpSpPr>
        <p:grpSpPr>
          <a:xfrm>
            <a:off x="7756765" y="2306172"/>
            <a:ext cx="694669" cy="465957"/>
            <a:chOff x="6884641" y="4383135"/>
            <a:chExt cx="982701" cy="753989"/>
          </a:xfrm>
        </p:grpSpPr>
        <p:sp>
          <p:nvSpPr>
            <p:cNvPr id="27" name="Oval 26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8" name="Oval 27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29" name="Oval 28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5319612" y="3201065"/>
            <a:ext cx="433046" cy="275276"/>
            <a:chOff x="7123254" y="4333835"/>
            <a:chExt cx="794601" cy="432048"/>
          </a:xfrm>
        </p:grpSpPr>
        <p:sp>
          <p:nvSpPr>
            <p:cNvPr id="31" name="Oval 30"/>
            <p:cNvSpPr/>
            <p:nvPr/>
          </p:nvSpPr>
          <p:spPr bwMode="auto">
            <a:xfrm>
              <a:off x="7123254" y="4333835"/>
              <a:ext cx="432048" cy="432048"/>
            </a:xfrm>
            <a:prstGeom prst="ellipse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32" name="Oval 31"/>
            <p:cNvSpPr/>
            <p:nvPr/>
          </p:nvSpPr>
          <p:spPr bwMode="auto">
            <a:xfrm>
              <a:off x="7361032" y="4333835"/>
              <a:ext cx="432048" cy="432048"/>
            </a:xfrm>
            <a:prstGeom prst="ellipse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cxnSp>
          <p:nvCxnSpPr>
            <p:cNvPr id="33" name="Straight Connector 32"/>
            <p:cNvCxnSpPr/>
            <p:nvPr/>
          </p:nvCxnSpPr>
          <p:spPr bwMode="auto">
            <a:xfrm flipH="1">
              <a:off x="7795593" y="4559869"/>
              <a:ext cx="122262" cy="0"/>
            </a:xfrm>
            <a:prstGeom prst="line">
              <a:avLst/>
            </a:prstGeom>
            <a:solidFill>
              <a:schemeClr val="accent2"/>
            </a:solidFill>
            <a:ln w="254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grpSp>
        <p:nvGrpSpPr>
          <p:cNvPr id="34" name="Group 33"/>
          <p:cNvGrpSpPr/>
          <p:nvPr/>
        </p:nvGrpSpPr>
        <p:grpSpPr>
          <a:xfrm>
            <a:off x="7066069" y="3209491"/>
            <a:ext cx="492439" cy="275276"/>
            <a:chOff x="7123254" y="4333835"/>
            <a:chExt cx="792088" cy="432048"/>
          </a:xfrm>
        </p:grpSpPr>
        <p:sp>
          <p:nvSpPr>
            <p:cNvPr id="35" name="Oval 34"/>
            <p:cNvSpPr/>
            <p:nvPr/>
          </p:nvSpPr>
          <p:spPr bwMode="auto">
            <a:xfrm>
              <a:off x="7123254" y="4333835"/>
              <a:ext cx="432048" cy="432048"/>
            </a:xfrm>
            <a:prstGeom prst="ellipse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36" name="Oval 35"/>
            <p:cNvSpPr/>
            <p:nvPr/>
          </p:nvSpPr>
          <p:spPr bwMode="auto">
            <a:xfrm>
              <a:off x="7361032" y="4333835"/>
              <a:ext cx="432048" cy="432048"/>
            </a:xfrm>
            <a:prstGeom prst="ellipse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cxnSp>
          <p:nvCxnSpPr>
            <p:cNvPr id="37" name="Straight Connector 36"/>
            <p:cNvCxnSpPr/>
            <p:nvPr/>
          </p:nvCxnSpPr>
          <p:spPr bwMode="auto">
            <a:xfrm flipH="1">
              <a:off x="7793080" y="4573754"/>
              <a:ext cx="122262" cy="0"/>
            </a:xfrm>
            <a:prstGeom prst="line">
              <a:avLst/>
            </a:prstGeom>
            <a:solidFill>
              <a:schemeClr val="accent2"/>
            </a:solidFill>
            <a:ln w="254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grpSp>
        <p:nvGrpSpPr>
          <p:cNvPr id="38" name="Group 37"/>
          <p:cNvGrpSpPr/>
          <p:nvPr/>
        </p:nvGrpSpPr>
        <p:grpSpPr>
          <a:xfrm>
            <a:off x="7055645" y="3537921"/>
            <a:ext cx="514479" cy="275276"/>
            <a:chOff x="7123254" y="4333835"/>
            <a:chExt cx="792088" cy="432048"/>
          </a:xfrm>
        </p:grpSpPr>
        <p:sp>
          <p:nvSpPr>
            <p:cNvPr id="39" name="Oval 38"/>
            <p:cNvSpPr/>
            <p:nvPr/>
          </p:nvSpPr>
          <p:spPr bwMode="auto">
            <a:xfrm>
              <a:off x="7123254" y="4333835"/>
              <a:ext cx="432048" cy="432048"/>
            </a:xfrm>
            <a:prstGeom prst="ellipse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40" name="Oval 39"/>
            <p:cNvSpPr/>
            <p:nvPr/>
          </p:nvSpPr>
          <p:spPr bwMode="auto">
            <a:xfrm>
              <a:off x="7361032" y="4333835"/>
              <a:ext cx="432048" cy="432048"/>
            </a:xfrm>
            <a:prstGeom prst="ellipse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cxnSp>
          <p:nvCxnSpPr>
            <p:cNvPr id="41" name="Straight Connector 40"/>
            <p:cNvCxnSpPr/>
            <p:nvPr/>
          </p:nvCxnSpPr>
          <p:spPr bwMode="auto">
            <a:xfrm flipH="1">
              <a:off x="7793080" y="4573754"/>
              <a:ext cx="122262" cy="0"/>
            </a:xfrm>
            <a:prstGeom prst="line">
              <a:avLst/>
            </a:prstGeom>
            <a:solidFill>
              <a:schemeClr val="accent2"/>
            </a:solidFill>
            <a:ln w="254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cxnSp>
        <p:nvCxnSpPr>
          <p:cNvPr id="42" name="Straight Connector 41"/>
          <p:cNvCxnSpPr/>
          <p:nvPr/>
        </p:nvCxnSpPr>
        <p:spPr bwMode="auto">
          <a:xfrm>
            <a:off x="6981292" y="3353661"/>
            <a:ext cx="84777" cy="0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43" name="Straight Connector 42"/>
          <p:cNvCxnSpPr/>
          <p:nvPr/>
        </p:nvCxnSpPr>
        <p:spPr bwMode="auto">
          <a:xfrm>
            <a:off x="6981292" y="3688962"/>
            <a:ext cx="84777" cy="0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</p:spPr>
      </p:cxnSp>
      <p:grpSp>
        <p:nvGrpSpPr>
          <p:cNvPr id="44" name="Group 43"/>
          <p:cNvGrpSpPr/>
          <p:nvPr/>
        </p:nvGrpSpPr>
        <p:grpSpPr>
          <a:xfrm>
            <a:off x="7749122" y="3208323"/>
            <a:ext cx="694669" cy="465957"/>
            <a:chOff x="6884641" y="4383135"/>
            <a:chExt cx="982701" cy="753989"/>
          </a:xfrm>
        </p:grpSpPr>
        <p:sp>
          <p:nvSpPr>
            <p:cNvPr id="45" name="Oval 44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46" name="Oval 45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47" name="Oval 46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48" name="Rectangle 47"/>
          <p:cNvSpPr/>
          <p:nvPr/>
        </p:nvSpPr>
        <p:spPr bwMode="auto">
          <a:xfrm>
            <a:off x="5717248" y="3215943"/>
            <a:ext cx="60391" cy="576064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a-DK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6922543" y="2293186"/>
            <a:ext cx="60391" cy="576064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a-DK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7518873" y="2293186"/>
            <a:ext cx="51742" cy="601886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a-DK" dirty="0">
              <a:solidFill>
                <a:prstClr val="white"/>
              </a:solidFill>
              <a:cs typeface="Arial" pitchFamily="34" charset="0"/>
            </a:endParaRPr>
          </a:p>
        </p:txBody>
      </p:sp>
      <p:cxnSp>
        <p:nvCxnSpPr>
          <p:cNvPr id="51" name="Straight Connector 50"/>
          <p:cNvCxnSpPr>
            <a:stCxn id="49" idx="1"/>
            <a:endCxn id="49" idx="1"/>
          </p:cNvCxnSpPr>
          <p:nvPr/>
        </p:nvCxnSpPr>
        <p:spPr bwMode="auto">
          <a:xfrm>
            <a:off x="6922543" y="2581218"/>
            <a:ext cx="0" cy="0"/>
          </a:xfrm>
          <a:prstGeom prst="line">
            <a:avLst/>
          </a:prstGeom>
          <a:solidFill>
            <a:schemeClr val="accent2"/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</p:spPr>
      </p:cxnSp>
      <p:grpSp>
        <p:nvGrpSpPr>
          <p:cNvPr id="52" name="Group 51"/>
          <p:cNvGrpSpPr/>
          <p:nvPr/>
        </p:nvGrpSpPr>
        <p:grpSpPr>
          <a:xfrm>
            <a:off x="7066559" y="2286734"/>
            <a:ext cx="492439" cy="275276"/>
            <a:chOff x="7123254" y="4333835"/>
            <a:chExt cx="792088" cy="432048"/>
          </a:xfrm>
        </p:grpSpPr>
        <p:sp>
          <p:nvSpPr>
            <p:cNvPr id="53" name="Oval 52"/>
            <p:cNvSpPr/>
            <p:nvPr/>
          </p:nvSpPr>
          <p:spPr bwMode="auto">
            <a:xfrm>
              <a:off x="7123254" y="4333835"/>
              <a:ext cx="432048" cy="432048"/>
            </a:xfrm>
            <a:prstGeom prst="ellipse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54" name="Oval 53"/>
            <p:cNvSpPr/>
            <p:nvPr/>
          </p:nvSpPr>
          <p:spPr bwMode="auto">
            <a:xfrm>
              <a:off x="7361032" y="4333835"/>
              <a:ext cx="432048" cy="432048"/>
            </a:xfrm>
            <a:prstGeom prst="ellipse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cxnSp>
          <p:nvCxnSpPr>
            <p:cNvPr id="55" name="Straight Connector 54"/>
            <p:cNvCxnSpPr/>
            <p:nvPr/>
          </p:nvCxnSpPr>
          <p:spPr bwMode="auto">
            <a:xfrm flipH="1">
              <a:off x="7793080" y="4573754"/>
              <a:ext cx="122262" cy="0"/>
            </a:xfrm>
            <a:prstGeom prst="line">
              <a:avLst/>
            </a:prstGeom>
            <a:solidFill>
              <a:schemeClr val="accent2"/>
            </a:solidFill>
            <a:ln w="254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grpSp>
        <p:nvGrpSpPr>
          <p:cNvPr id="56" name="Group 55"/>
          <p:cNvGrpSpPr/>
          <p:nvPr/>
        </p:nvGrpSpPr>
        <p:grpSpPr>
          <a:xfrm>
            <a:off x="7056135" y="2615164"/>
            <a:ext cx="514479" cy="275276"/>
            <a:chOff x="7123254" y="4333835"/>
            <a:chExt cx="792088" cy="432048"/>
          </a:xfrm>
        </p:grpSpPr>
        <p:sp>
          <p:nvSpPr>
            <p:cNvPr id="57" name="Oval 56"/>
            <p:cNvSpPr/>
            <p:nvPr/>
          </p:nvSpPr>
          <p:spPr bwMode="auto">
            <a:xfrm>
              <a:off x="7123254" y="4333835"/>
              <a:ext cx="432048" cy="432048"/>
            </a:xfrm>
            <a:prstGeom prst="ellipse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58" name="Oval 57"/>
            <p:cNvSpPr/>
            <p:nvPr/>
          </p:nvSpPr>
          <p:spPr bwMode="auto">
            <a:xfrm>
              <a:off x="7361032" y="4333835"/>
              <a:ext cx="432048" cy="432048"/>
            </a:xfrm>
            <a:prstGeom prst="ellipse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cxnSp>
          <p:nvCxnSpPr>
            <p:cNvPr id="59" name="Straight Connector 58"/>
            <p:cNvCxnSpPr/>
            <p:nvPr/>
          </p:nvCxnSpPr>
          <p:spPr bwMode="auto">
            <a:xfrm flipH="1">
              <a:off x="7793080" y="4573754"/>
              <a:ext cx="122262" cy="0"/>
            </a:xfrm>
            <a:prstGeom prst="line">
              <a:avLst/>
            </a:prstGeom>
            <a:solidFill>
              <a:schemeClr val="accent2"/>
            </a:solidFill>
            <a:ln w="254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cxnSp>
        <p:nvCxnSpPr>
          <p:cNvPr id="60" name="Straight Connector 59"/>
          <p:cNvCxnSpPr/>
          <p:nvPr/>
        </p:nvCxnSpPr>
        <p:spPr bwMode="auto">
          <a:xfrm>
            <a:off x="6981782" y="2430904"/>
            <a:ext cx="84777" cy="0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61" name="Straight Connector 60"/>
          <p:cNvCxnSpPr/>
          <p:nvPr/>
        </p:nvCxnSpPr>
        <p:spPr bwMode="auto">
          <a:xfrm>
            <a:off x="6981782" y="2766205"/>
            <a:ext cx="84777" cy="0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62" name="Elbow Connector 64"/>
          <p:cNvCxnSpPr/>
          <p:nvPr/>
        </p:nvCxnSpPr>
        <p:spPr bwMode="auto">
          <a:xfrm rot="16200000" flipH="1">
            <a:off x="5734067" y="3741270"/>
            <a:ext cx="182629" cy="177120"/>
          </a:xfrm>
          <a:prstGeom prst="bentConnector3">
            <a:avLst>
              <a:gd name="adj1" fmla="val 6190"/>
            </a:avLst>
          </a:prstGeom>
          <a:solidFill>
            <a:schemeClr val="accent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63" name="Rectangle 62"/>
          <p:cNvSpPr/>
          <p:nvPr/>
        </p:nvSpPr>
        <p:spPr bwMode="auto">
          <a:xfrm>
            <a:off x="6910437" y="4097630"/>
            <a:ext cx="60391" cy="576064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a-DK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64" name="Rectangle 63"/>
          <p:cNvSpPr/>
          <p:nvPr/>
        </p:nvSpPr>
        <p:spPr bwMode="auto">
          <a:xfrm>
            <a:off x="7506767" y="4097630"/>
            <a:ext cx="51742" cy="601886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a-DK" dirty="0">
              <a:solidFill>
                <a:prstClr val="white"/>
              </a:solidFill>
              <a:cs typeface="Arial" pitchFamily="34" charset="0"/>
            </a:endParaRPr>
          </a:p>
        </p:txBody>
      </p:sp>
      <p:cxnSp>
        <p:nvCxnSpPr>
          <p:cNvPr id="65" name="Straight Connector 64"/>
          <p:cNvCxnSpPr>
            <a:stCxn id="63" idx="1"/>
            <a:endCxn id="63" idx="1"/>
          </p:cNvCxnSpPr>
          <p:nvPr/>
        </p:nvCxnSpPr>
        <p:spPr bwMode="auto">
          <a:xfrm>
            <a:off x="6910437" y="4385662"/>
            <a:ext cx="0" cy="0"/>
          </a:xfrm>
          <a:prstGeom prst="line">
            <a:avLst/>
          </a:prstGeom>
          <a:solidFill>
            <a:schemeClr val="accent2"/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</p:spPr>
      </p:cxnSp>
      <p:grpSp>
        <p:nvGrpSpPr>
          <p:cNvPr id="66" name="Group 65"/>
          <p:cNvGrpSpPr/>
          <p:nvPr/>
        </p:nvGrpSpPr>
        <p:grpSpPr>
          <a:xfrm>
            <a:off x="7054453" y="4091178"/>
            <a:ext cx="492439" cy="275276"/>
            <a:chOff x="7123254" y="4333835"/>
            <a:chExt cx="792088" cy="432048"/>
          </a:xfrm>
        </p:grpSpPr>
        <p:sp>
          <p:nvSpPr>
            <p:cNvPr id="67" name="Oval 66"/>
            <p:cNvSpPr/>
            <p:nvPr/>
          </p:nvSpPr>
          <p:spPr bwMode="auto">
            <a:xfrm>
              <a:off x="7123254" y="4333835"/>
              <a:ext cx="432048" cy="432048"/>
            </a:xfrm>
            <a:prstGeom prst="ellipse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68" name="Oval 67"/>
            <p:cNvSpPr/>
            <p:nvPr/>
          </p:nvSpPr>
          <p:spPr bwMode="auto">
            <a:xfrm>
              <a:off x="7361032" y="4333835"/>
              <a:ext cx="432048" cy="432048"/>
            </a:xfrm>
            <a:prstGeom prst="ellipse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cxnSp>
          <p:nvCxnSpPr>
            <p:cNvPr id="69" name="Straight Connector 68"/>
            <p:cNvCxnSpPr/>
            <p:nvPr/>
          </p:nvCxnSpPr>
          <p:spPr bwMode="auto">
            <a:xfrm flipH="1">
              <a:off x="7793080" y="4573754"/>
              <a:ext cx="122262" cy="0"/>
            </a:xfrm>
            <a:prstGeom prst="line">
              <a:avLst/>
            </a:prstGeom>
            <a:solidFill>
              <a:schemeClr val="accent2"/>
            </a:solidFill>
            <a:ln w="254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grpSp>
        <p:nvGrpSpPr>
          <p:cNvPr id="70" name="Group 69"/>
          <p:cNvGrpSpPr/>
          <p:nvPr/>
        </p:nvGrpSpPr>
        <p:grpSpPr>
          <a:xfrm>
            <a:off x="7044029" y="4419608"/>
            <a:ext cx="514479" cy="275276"/>
            <a:chOff x="7123254" y="4333835"/>
            <a:chExt cx="792088" cy="432048"/>
          </a:xfrm>
        </p:grpSpPr>
        <p:sp>
          <p:nvSpPr>
            <p:cNvPr id="71" name="Oval 70"/>
            <p:cNvSpPr/>
            <p:nvPr/>
          </p:nvSpPr>
          <p:spPr bwMode="auto">
            <a:xfrm>
              <a:off x="7123254" y="4333835"/>
              <a:ext cx="432048" cy="432048"/>
            </a:xfrm>
            <a:prstGeom prst="ellipse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72" name="Oval 71"/>
            <p:cNvSpPr/>
            <p:nvPr/>
          </p:nvSpPr>
          <p:spPr bwMode="auto">
            <a:xfrm>
              <a:off x="7361032" y="4333835"/>
              <a:ext cx="432048" cy="432048"/>
            </a:xfrm>
            <a:prstGeom prst="ellipse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cxnSp>
          <p:nvCxnSpPr>
            <p:cNvPr id="73" name="Straight Connector 72"/>
            <p:cNvCxnSpPr/>
            <p:nvPr/>
          </p:nvCxnSpPr>
          <p:spPr bwMode="auto">
            <a:xfrm flipH="1">
              <a:off x="7793080" y="4573754"/>
              <a:ext cx="122262" cy="0"/>
            </a:xfrm>
            <a:prstGeom prst="line">
              <a:avLst/>
            </a:prstGeom>
            <a:solidFill>
              <a:schemeClr val="accent2"/>
            </a:solidFill>
            <a:ln w="254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cxnSp>
        <p:nvCxnSpPr>
          <p:cNvPr id="74" name="Straight Connector 73"/>
          <p:cNvCxnSpPr/>
          <p:nvPr/>
        </p:nvCxnSpPr>
        <p:spPr bwMode="auto">
          <a:xfrm>
            <a:off x="6969676" y="4235348"/>
            <a:ext cx="84777" cy="0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75" name="Straight Connector 74"/>
          <p:cNvCxnSpPr/>
          <p:nvPr/>
        </p:nvCxnSpPr>
        <p:spPr bwMode="auto">
          <a:xfrm>
            <a:off x="6969676" y="4570649"/>
            <a:ext cx="84777" cy="0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76" name="Straight Connector 75"/>
          <p:cNvCxnSpPr>
            <a:stCxn id="48" idx="3"/>
            <a:endCxn id="6" idx="1"/>
          </p:cNvCxnSpPr>
          <p:nvPr/>
        </p:nvCxnSpPr>
        <p:spPr bwMode="auto">
          <a:xfrm>
            <a:off x="5777639" y="3503975"/>
            <a:ext cx="1144414" cy="0"/>
          </a:xfrm>
          <a:prstGeom prst="line">
            <a:avLst/>
          </a:prstGeom>
          <a:solidFill>
            <a:schemeClr val="accent2"/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77" name="Rounded Rectangle 82"/>
          <p:cNvSpPr/>
          <p:nvPr/>
        </p:nvSpPr>
        <p:spPr bwMode="auto">
          <a:xfrm>
            <a:off x="4504364" y="3052859"/>
            <a:ext cx="1337569" cy="940294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78" name="Rectangle 77"/>
          <p:cNvSpPr/>
          <p:nvPr/>
        </p:nvSpPr>
        <p:spPr bwMode="auto">
          <a:xfrm>
            <a:off x="5225179" y="3228809"/>
            <a:ext cx="60391" cy="576064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a-DK" dirty="0">
              <a:solidFill>
                <a:prstClr val="white"/>
              </a:solidFill>
              <a:cs typeface="Arial" pitchFamily="34" charset="0"/>
            </a:endParaRPr>
          </a:p>
        </p:txBody>
      </p:sp>
      <p:grpSp>
        <p:nvGrpSpPr>
          <p:cNvPr id="79" name="Group 78"/>
          <p:cNvGrpSpPr/>
          <p:nvPr/>
        </p:nvGrpSpPr>
        <p:grpSpPr>
          <a:xfrm>
            <a:off x="5319612" y="3554554"/>
            <a:ext cx="433046" cy="275276"/>
            <a:chOff x="7123254" y="4333835"/>
            <a:chExt cx="794601" cy="432048"/>
          </a:xfrm>
        </p:grpSpPr>
        <p:sp>
          <p:nvSpPr>
            <p:cNvPr id="80" name="Oval 79"/>
            <p:cNvSpPr/>
            <p:nvPr/>
          </p:nvSpPr>
          <p:spPr bwMode="auto">
            <a:xfrm>
              <a:off x="7123254" y="4333835"/>
              <a:ext cx="432048" cy="432048"/>
            </a:xfrm>
            <a:prstGeom prst="ellipse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81" name="Oval 80"/>
            <p:cNvSpPr/>
            <p:nvPr/>
          </p:nvSpPr>
          <p:spPr bwMode="auto">
            <a:xfrm>
              <a:off x="7361032" y="4333835"/>
              <a:ext cx="432048" cy="432048"/>
            </a:xfrm>
            <a:prstGeom prst="ellipse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cxnSp>
          <p:nvCxnSpPr>
            <p:cNvPr id="82" name="Straight Connector 81"/>
            <p:cNvCxnSpPr/>
            <p:nvPr/>
          </p:nvCxnSpPr>
          <p:spPr bwMode="auto">
            <a:xfrm flipH="1">
              <a:off x="7795593" y="4559869"/>
              <a:ext cx="122262" cy="0"/>
            </a:xfrm>
            <a:prstGeom prst="line">
              <a:avLst/>
            </a:prstGeom>
            <a:solidFill>
              <a:schemeClr val="accent2"/>
            </a:solidFill>
            <a:ln w="254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</p:grpSp>
      <p:cxnSp>
        <p:nvCxnSpPr>
          <p:cNvPr id="83" name="Straight Connector 82"/>
          <p:cNvCxnSpPr>
            <a:stCxn id="80" idx="2"/>
          </p:cNvCxnSpPr>
          <p:nvPr/>
        </p:nvCxnSpPr>
        <p:spPr bwMode="auto">
          <a:xfrm flipH="1">
            <a:off x="5285570" y="3692192"/>
            <a:ext cx="34042" cy="0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84" name="Straight Connector 83"/>
          <p:cNvCxnSpPr/>
          <p:nvPr/>
        </p:nvCxnSpPr>
        <p:spPr bwMode="auto">
          <a:xfrm flipH="1">
            <a:off x="5265869" y="3345081"/>
            <a:ext cx="34042" cy="0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85" name="Rounded Rectangle 100"/>
          <p:cNvSpPr/>
          <p:nvPr/>
        </p:nvSpPr>
        <p:spPr bwMode="auto">
          <a:xfrm>
            <a:off x="6838429" y="2227182"/>
            <a:ext cx="792088" cy="732903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86" name="Rounded Rectangle 101"/>
          <p:cNvSpPr/>
          <p:nvPr/>
        </p:nvSpPr>
        <p:spPr bwMode="auto">
          <a:xfrm>
            <a:off x="6853034" y="3132972"/>
            <a:ext cx="792088" cy="732903"/>
          </a:xfrm>
          <a:prstGeom prst="round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prstClr val="white"/>
              </a:solidFill>
              <a:cs typeface="Arial" pitchFamily="34" charset="0"/>
            </a:endParaRPr>
          </a:p>
        </p:txBody>
      </p:sp>
      <p:cxnSp>
        <p:nvCxnSpPr>
          <p:cNvPr id="87" name="Straight Connector 103"/>
          <p:cNvCxnSpPr>
            <a:endCxn id="63" idx="1"/>
          </p:cNvCxnSpPr>
          <p:nvPr/>
        </p:nvCxnSpPr>
        <p:spPr bwMode="auto">
          <a:xfrm>
            <a:off x="5708570" y="3687364"/>
            <a:ext cx="1201867" cy="698298"/>
          </a:xfrm>
          <a:prstGeom prst="bentConnector3">
            <a:avLst>
              <a:gd name="adj1" fmla="val 77172"/>
            </a:avLst>
          </a:prstGeom>
          <a:solidFill>
            <a:schemeClr val="accent2"/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88" name="Straight Connector 103"/>
          <p:cNvCxnSpPr>
            <a:endCxn id="49" idx="1"/>
          </p:cNvCxnSpPr>
          <p:nvPr/>
        </p:nvCxnSpPr>
        <p:spPr bwMode="auto">
          <a:xfrm flipV="1">
            <a:off x="5777512" y="2581218"/>
            <a:ext cx="1145031" cy="768500"/>
          </a:xfrm>
          <a:prstGeom prst="bentConnector3">
            <a:avLst>
              <a:gd name="adj1" fmla="val 72818"/>
            </a:avLst>
          </a:prstGeom>
          <a:solidFill>
            <a:schemeClr val="accent2"/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</p:spPr>
      </p:cxnSp>
      <p:grpSp>
        <p:nvGrpSpPr>
          <p:cNvPr id="89" name="Group 88"/>
          <p:cNvGrpSpPr/>
          <p:nvPr/>
        </p:nvGrpSpPr>
        <p:grpSpPr>
          <a:xfrm>
            <a:off x="7781255" y="4123837"/>
            <a:ext cx="694669" cy="465957"/>
            <a:chOff x="6884641" y="4383135"/>
            <a:chExt cx="982701" cy="753989"/>
          </a:xfrm>
        </p:grpSpPr>
        <p:sp>
          <p:nvSpPr>
            <p:cNvPr id="90" name="Oval 89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91" name="Oval 90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92" name="Oval 91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8439309" y="2293186"/>
            <a:ext cx="694669" cy="465957"/>
            <a:chOff x="6884641" y="4383135"/>
            <a:chExt cx="982701" cy="753989"/>
          </a:xfrm>
        </p:grpSpPr>
        <p:sp>
          <p:nvSpPr>
            <p:cNvPr id="94" name="Oval 93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95" name="Oval 94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96" name="Oval 95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grpSp>
        <p:nvGrpSpPr>
          <p:cNvPr id="97" name="Group 96"/>
          <p:cNvGrpSpPr/>
          <p:nvPr/>
        </p:nvGrpSpPr>
        <p:grpSpPr>
          <a:xfrm>
            <a:off x="8438763" y="3203850"/>
            <a:ext cx="694669" cy="465957"/>
            <a:chOff x="6884641" y="4383135"/>
            <a:chExt cx="982701" cy="753989"/>
          </a:xfrm>
        </p:grpSpPr>
        <p:sp>
          <p:nvSpPr>
            <p:cNvPr id="98" name="Oval 97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99" name="Oval 98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0" name="Oval 99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grpSp>
        <p:nvGrpSpPr>
          <p:cNvPr id="101" name="Group 100"/>
          <p:cNvGrpSpPr/>
          <p:nvPr/>
        </p:nvGrpSpPr>
        <p:grpSpPr>
          <a:xfrm>
            <a:off x="8485203" y="4123837"/>
            <a:ext cx="694669" cy="465957"/>
            <a:chOff x="6884641" y="4383135"/>
            <a:chExt cx="982701" cy="753989"/>
          </a:xfrm>
        </p:grpSpPr>
        <p:sp>
          <p:nvSpPr>
            <p:cNvPr id="102" name="Oval 101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3" name="Oval 102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4" name="Oval 103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a-DK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pic>
        <p:nvPicPr>
          <p:cNvPr id="105" name="Picture 1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67" b="4865"/>
          <a:stretch/>
        </p:blipFill>
        <p:spPr bwMode="auto">
          <a:xfrm>
            <a:off x="117805" y="3233825"/>
            <a:ext cx="489189" cy="423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6" name="Freeform 109"/>
          <p:cNvSpPr/>
          <p:nvPr/>
        </p:nvSpPr>
        <p:spPr bwMode="auto">
          <a:xfrm>
            <a:off x="1850145" y="3273073"/>
            <a:ext cx="175364" cy="162939"/>
          </a:xfrm>
          <a:custGeom>
            <a:avLst/>
            <a:gdLst>
              <a:gd name="connsiteX0" fmla="*/ 0 w 175364"/>
              <a:gd name="connsiteY0" fmla="*/ 90189 h 162939"/>
              <a:gd name="connsiteX1" fmla="*/ 45093 w 175364"/>
              <a:gd name="connsiteY1" fmla="*/ 2 h 162939"/>
              <a:gd name="connsiteX2" fmla="*/ 97703 w 175364"/>
              <a:gd name="connsiteY2" fmla="*/ 92695 h 162939"/>
              <a:gd name="connsiteX3" fmla="*/ 130270 w 175364"/>
              <a:gd name="connsiteY3" fmla="*/ 162840 h 162939"/>
              <a:gd name="connsiteX4" fmla="*/ 170354 w 175364"/>
              <a:gd name="connsiteY4" fmla="*/ 77663 h 162939"/>
              <a:gd name="connsiteX5" fmla="*/ 170354 w 175364"/>
              <a:gd name="connsiteY5" fmla="*/ 77663 h 162939"/>
              <a:gd name="connsiteX6" fmla="*/ 175364 w 175364"/>
              <a:gd name="connsiteY6" fmla="*/ 75158 h 162939"/>
              <a:gd name="connsiteX7" fmla="*/ 175364 w 175364"/>
              <a:gd name="connsiteY7" fmla="*/ 75158 h 162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5364" h="162939">
                <a:moveTo>
                  <a:pt x="0" y="90189"/>
                </a:moveTo>
                <a:cubicBezTo>
                  <a:pt x="14404" y="44886"/>
                  <a:pt x="28809" y="-416"/>
                  <a:pt x="45093" y="2"/>
                </a:cubicBezTo>
                <a:cubicBezTo>
                  <a:pt x="61377" y="420"/>
                  <a:pt x="83507" y="65555"/>
                  <a:pt x="97703" y="92695"/>
                </a:cubicBezTo>
                <a:cubicBezTo>
                  <a:pt x="111899" y="119835"/>
                  <a:pt x="118162" y="165345"/>
                  <a:pt x="130270" y="162840"/>
                </a:cubicBezTo>
                <a:cubicBezTo>
                  <a:pt x="142378" y="160335"/>
                  <a:pt x="170354" y="77663"/>
                  <a:pt x="170354" y="77663"/>
                </a:cubicBezTo>
                <a:lnTo>
                  <a:pt x="170354" y="77663"/>
                </a:lnTo>
                <a:lnTo>
                  <a:pt x="175364" y="75158"/>
                </a:lnTo>
                <a:lnTo>
                  <a:pt x="175364" y="75158"/>
                </a:lnTo>
              </a:path>
            </a:pathLst>
          </a:cu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a-DK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7" name="Freeform 110"/>
          <p:cNvSpPr/>
          <p:nvPr/>
        </p:nvSpPr>
        <p:spPr bwMode="auto">
          <a:xfrm>
            <a:off x="4905829" y="3542182"/>
            <a:ext cx="175364" cy="162939"/>
          </a:xfrm>
          <a:custGeom>
            <a:avLst/>
            <a:gdLst>
              <a:gd name="connsiteX0" fmla="*/ 0 w 175364"/>
              <a:gd name="connsiteY0" fmla="*/ 90189 h 162939"/>
              <a:gd name="connsiteX1" fmla="*/ 45093 w 175364"/>
              <a:gd name="connsiteY1" fmla="*/ 2 h 162939"/>
              <a:gd name="connsiteX2" fmla="*/ 97703 w 175364"/>
              <a:gd name="connsiteY2" fmla="*/ 92695 h 162939"/>
              <a:gd name="connsiteX3" fmla="*/ 130270 w 175364"/>
              <a:gd name="connsiteY3" fmla="*/ 162840 h 162939"/>
              <a:gd name="connsiteX4" fmla="*/ 170354 w 175364"/>
              <a:gd name="connsiteY4" fmla="*/ 77663 h 162939"/>
              <a:gd name="connsiteX5" fmla="*/ 170354 w 175364"/>
              <a:gd name="connsiteY5" fmla="*/ 77663 h 162939"/>
              <a:gd name="connsiteX6" fmla="*/ 175364 w 175364"/>
              <a:gd name="connsiteY6" fmla="*/ 75158 h 162939"/>
              <a:gd name="connsiteX7" fmla="*/ 175364 w 175364"/>
              <a:gd name="connsiteY7" fmla="*/ 75158 h 162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5364" h="162939">
                <a:moveTo>
                  <a:pt x="0" y="90189"/>
                </a:moveTo>
                <a:cubicBezTo>
                  <a:pt x="14404" y="44886"/>
                  <a:pt x="28809" y="-416"/>
                  <a:pt x="45093" y="2"/>
                </a:cubicBezTo>
                <a:cubicBezTo>
                  <a:pt x="61377" y="420"/>
                  <a:pt x="83507" y="65555"/>
                  <a:pt x="97703" y="92695"/>
                </a:cubicBezTo>
                <a:cubicBezTo>
                  <a:pt x="111899" y="119835"/>
                  <a:pt x="118162" y="165345"/>
                  <a:pt x="130270" y="162840"/>
                </a:cubicBezTo>
                <a:cubicBezTo>
                  <a:pt x="142378" y="160335"/>
                  <a:pt x="170354" y="77663"/>
                  <a:pt x="170354" y="77663"/>
                </a:cubicBezTo>
                <a:lnTo>
                  <a:pt x="170354" y="77663"/>
                </a:lnTo>
                <a:lnTo>
                  <a:pt x="175364" y="75158"/>
                </a:lnTo>
                <a:lnTo>
                  <a:pt x="175364" y="75158"/>
                </a:lnTo>
              </a:path>
            </a:pathLst>
          </a:cu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a-DK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8" name="Title 1"/>
          <p:cNvSpPr txBox="1">
            <a:spLocks/>
          </p:cNvSpPr>
          <p:nvPr/>
        </p:nvSpPr>
        <p:spPr bwMode="auto">
          <a:xfrm>
            <a:off x="329956" y="2636912"/>
            <a:ext cx="840738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9298" algn="l"/>
              </a:tabLst>
              <a:defRPr sz="2200" b="1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kern="0" dirty="0" err="1"/>
              <a:t>Hornsea</a:t>
            </a:r>
            <a:r>
              <a:rPr lang="en-GB" kern="0" dirty="0"/>
              <a:t> One HVDC</a:t>
            </a:r>
          </a:p>
        </p:txBody>
      </p:sp>
      <p:pic>
        <p:nvPicPr>
          <p:cNvPr id="75778" name="Picture 1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0" y="783312"/>
            <a:ext cx="9252520" cy="530540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</p:pic>
    </p:spTree>
    <p:extLst>
      <p:ext uri="{BB962C8B-B14F-4D97-AF65-F5344CB8AC3E}">
        <p14:creationId xmlns:p14="http://schemas.microsoft.com/office/powerpoint/2010/main" val="3474498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57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57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sorhi\AppData\Local\Microsoft\Windows\INetCacheContent.Word\image3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187624" y="1052736"/>
            <a:ext cx="7056784" cy="1046440"/>
          </a:xfrm>
        </p:spPr>
        <p:txBody>
          <a:bodyPr/>
          <a:lstStyle/>
          <a:p>
            <a:r>
              <a:rPr lang="en-GB" sz="1800" dirty="0"/>
              <a:t>We expect 2-3 export cable faults pr. 100km pr. 20 year (CIGRÈ)</a:t>
            </a:r>
          </a:p>
          <a:p>
            <a:endParaRPr lang="en-GB" sz="1800" dirty="0"/>
          </a:p>
          <a:p>
            <a:r>
              <a:rPr lang="en-GB" sz="1800" dirty="0"/>
              <a:t>Cost of export cables are up to 60% of the transmission system</a:t>
            </a:r>
          </a:p>
          <a:p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port cable – the weakest and most expensive part</a:t>
            </a:r>
            <a:br>
              <a:rPr lang="en-GB" dirty="0"/>
            </a:br>
            <a:endParaRPr lang="en-GB" dirty="0"/>
          </a:p>
        </p:txBody>
      </p:sp>
      <p:sp>
        <p:nvSpPr>
          <p:cNvPr id="2" name="TextBox 1"/>
          <p:cNvSpPr txBox="1"/>
          <p:nvPr/>
        </p:nvSpPr>
        <p:spPr>
          <a:xfrm>
            <a:off x="4355976" y="5877272"/>
            <a:ext cx="44312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err="1">
                <a:solidFill>
                  <a:schemeClr val="bg1"/>
                </a:solidFill>
              </a:rPr>
              <a:t>Walney</a:t>
            </a:r>
            <a:r>
              <a:rPr lang="en-GB" dirty="0">
                <a:solidFill>
                  <a:schemeClr val="bg1"/>
                </a:solidFill>
              </a:rPr>
              <a:t> 3+4 659 MW, HVAC, 2OSS, 1OnSS, 400/220/34 kV, 68+4 km (WR)</a:t>
            </a:r>
          </a:p>
        </p:txBody>
      </p:sp>
    </p:spTree>
    <p:extLst>
      <p:ext uri="{BB962C8B-B14F-4D97-AF65-F5344CB8AC3E}">
        <p14:creationId xmlns:p14="http://schemas.microsoft.com/office/powerpoint/2010/main" val="7290873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360363" y="338138"/>
            <a:ext cx="7163965" cy="823912"/>
          </a:xfrm>
        </p:spPr>
        <p:txBody>
          <a:bodyPr>
            <a:noAutofit/>
          </a:bodyPr>
          <a:lstStyle/>
          <a:p>
            <a:pPr algn="l"/>
            <a:r>
              <a:rPr lang="en-GB" sz="3200" dirty="0">
                <a:solidFill>
                  <a:schemeClr val="tx2"/>
                </a:solidFill>
              </a:rPr>
              <a:t>Interlink between platforms</a:t>
            </a:r>
            <a:endParaRPr lang="en-GB" sz="3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619780" y="3933056"/>
            <a:ext cx="1740693" cy="126900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336" y="116632"/>
            <a:ext cx="1117083" cy="1208168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378012" y="1523009"/>
            <a:ext cx="8586475" cy="15459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GB" sz="1400" dirty="0">
                <a:solidFill>
                  <a:prstClr val="black"/>
                </a:solidFill>
              </a:rPr>
              <a:t>Improving wind farm availability via interlink between platforms </a:t>
            </a:r>
            <a:r>
              <a:rPr lang="en-GB" sz="1400" dirty="0"/>
              <a:t>either at High Voltage or Medium Voltage</a:t>
            </a:r>
          </a:p>
          <a:p>
            <a:pPr defTabSz="1162050"/>
            <a:endParaRPr lang="en-GB" sz="1400" dirty="0">
              <a:solidFill>
                <a:prstClr val="black"/>
              </a:solidFill>
            </a:endParaRPr>
          </a:p>
          <a:p>
            <a:pPr defTabSz="1162050"/>
            <a:r>
              <a:rPr lang="en-GB" sz="1400" dirty="0">
                <a:solidFill>
                  <a:prstClr val="black"/>
                </a:solidFill>
              </a:rPr>
              <a:t>Advantage:  	Export energy during export cable faults</a:t>
            </a:r>
          </a:p>
          <a:p>
            <a:pPr defTabSz="1162050"/>
            <a:r>
              <a:rPr lang="en-GB" sz="1400" dirty="0">
                <a:sym typeface="Wingdings" panose="05000000000000000000" pitchFamily="2" charset="2"/>
              </a:rPr>
              <a:t>	No permanent diesel  generator offshore substation will reduce HSE and fire 	requirements</a:t>
            </a:r>
            <a:r>
              <a:rPr lang="en-GB" sz="1400" dirty="0">
                <a:solidFill>
                  <a:srgbClr val="FF0000"/>
                </a:solidFill>
                <a:sym typeface="Wingdings" panose="05000000000000000000" pitchFamily="2" charset="2"/>
              </a:rPr>
              <a:t> </a:t>
            </a:r>
          </a:p>
          <a:p>
            <a:pPr defTabSz="1162050"/>
            <a:r>
              <a:rPr lang="en-GB" sz="1400" dirty="0">
                <a:solidFill>
                  <a:srgbClr val="FF0000"/>
                </a:solidFill>
                <a:sym typeface="Wingdings" panose="05000000000000000000" pitchFamily="2" charset="2"/>
              </a:rPr>
              <a:t>	</a:t>
            </a:r>
            <a:r>
              <a:rPr lang="en-GB" sz="1400" dirty="0">
                <a:sym typeface="Wingdings" panose="05000000000000000000" pitchFamily="2" charset="2"/>
              </a:rPr>
              <a:t>R</a:t>
            </a:r>
            <a:r>
              <a:rPr lang="en-GB" sz="1400" dirty="0"/>
              <a:t>educe need for diesel gen-sets at WTGs</a:t>
            </a:r>
            <a:endParaRPr lang="en-GB" sz="1400" dirty="0">
              <a:solidFill>
                <a:srgbClr val="FF0000"/>
              </a:solidFill>
              <a:sym typeface="Wingdings" panose="05000000000000000000" pitchFamily="2" charset="2"/>
            </a:endParaRPr>
          </a:p>
          <a:p>
            <a:pPr defTabSz="1162050"/>
            <a:r>
              <a:rPr lang="en-GB" sz="1400" dirty="0">
                <a:solidFill>
                  <a:srgbClr val="FF0000"/>
                </a:solidFill>
                <a:sym typeface="Wingdings" panose="05000000000000000000" pitchFamily="2" charset="2"/>
              </a:rPr>
              <a:t>	</a:t>
            </a:r>
            <a:r>
              <a:rPr lang="en-GB" sz="1400" dirty="0">
                <a:sym typeface="Wingdings" panose="05000000000000000000" pitchFamily="2" charset="2"/>
              </a:rPr>
              <a:t>Possibly postponing of second export cable and </a:t>
            </a:r>
            <a:r>
              <a:rPr lang="en-GB" sz="1400" dirty="0"/>
              <a:t>reducing O&amp;M costs</a:t>
            </a:r>
          </a:p>
          <a:p>
            <a:pPr defTabSz="1162050"/>
            <a:endParaRPr lang="en-GB" sz="1400" dirty="0"/>
          </a:p>
          <a:p>
            <a:pPr defTabSz="1162050"/>
            <a:r>
              <a:rPr lang="en-GB" sz="1400" dirty="0"/>
              <a:t>Disadvantage: Additional cost for interlink: Interlink cable, switchgear for interlink cable , extra j-tubes</a:t>
            </a:r>
          </a:p>
        </p:txBody>
      </p:sp>
      <p:sp>
        <p:nvSpPr>
          <p:cNvPr id="28" name="Rectangle 27"/>
          <p:cNvSpPr/>
          <p:nvPr>
            <p:custDataLst>
              <p:tags r:id="rId1"/>
            </p:custDataLst>
          </p:nvPr>
        </p:nvSpPr>
        <p:spPr bwMode="auto">
          <a:xfrm>
            <a:off x="661115" y="4151817"/>
            <a:ext cx="45719" cy="1759385"/>
          </a:xfrm>
          <a:prstGeom prst="rect">
            <a:avLst/>
          </a:prstGeom>
          <a:solidFill>
            <a:srgbClr val="0F96AA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30" name="Oval 29"/>
          <p:cNvSpPr/>
          <p:nvPr>
            <p:custDataLst>
              <p:tags r:id="rId2"/>
            </p:custDataLst>
          </p:nvPr>
        </p:nvSpPr>
        <p:spPr bwMode="auto">
          <a:xfrm>
            <a:off x="758249" y="4198637"/>
            <a:ext cx="291401" cy="280918"/>
          </a:xfrm>
          <a:prstGeom prst="ellips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31" name="Oval 30"/>
          <p:cNvSpPr/>
          <p:nvPr>
            <p:custDataLst>
              <p:tags r:id="rId3"/>
            </p:custDataLst>
          </p:nvPr>
        </p:nvSpPr>
        <p:spPr bwMode="auto">
          <a:xfrm>
            <a:off x="918622" y="4198637"/>
            <a:ext cx="291401" cy="280918"/>
          </a:xfrm>
          <a:prstGeom prst="ellips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34" name="Rectangle 33"/>
          <p:cNvSpPr/>
          <p:nvPr>
            <p:custDataLst>
              <p:tags r:id="rId4"/>
            </p:custDataLst>
          </p:nvPr>
        </p:nvSpPr>
        <p:spPr bwMode="auto">
          <a:xfrm>
            <a:off x="1292485" y="4151817"/>
            <a:ext cx="48567" cy="374558"/>
          </a:xfrm>
          <a:prstGeom prst="rect">
            <a:avLst/>
          </a:prstGeom>
          <a:solidFill>
            <a:srgbClr val="0F96AA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40" name="Curved Connector 39"/>
          <p:cNvCxnSpPr/>
          <p:nvPr>
            <p:custDataLst>
              <p:tags r:id="rId5"/>
            </p:custDataLst>
          </p:nvPr>
        </p:nvCxnSpPr>
        <p:spPr bwMode="auto">
          <a:xfrm rot="16200000" flipH="1">
            <a:off x="1904814" y="4314812"/>
            <a:ext cx="280918" cy="48568"/>
          </a:xfrm>
          <a:prstGeom prst="curvedConnector3">
            <a:avLst>
              <a:gd name="adj1" fmla="val 50000"/>
            </a:avLst>
          </a:prstGeom>
          <a:solidFill>
            <a:srgbClr val="0F4B5F"/>
          </a:solidFill>
          <a:ln w="127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41" name="Straight Connector 40"/>
          <p:cNvCxnSpPr>
            <a:stCxn id="30" idx="2"/>
          </p:cNvCxnSpPr>
          <p:nvPr>
            <p:custDataLst>
              <p:tags r:id="rId6"/>
            </p:custDataLst>
          </p:nvPr>
        </p:nvCxnSpPr>
        <p:spPr bwMode="auto">
          <a:xfrm flipH="1" flipV="1">
            <a:off x="683974" y="4334900"/>
            <a:ext cx="74275" cy="4196"/>
          </a:xfrm>
          <a:prstGeom prst="line">
            <a:avLst/>
          </a:prstGeom>
          <a:solidFill>
            <a:srgbClr val="0F4B5F"/>
          </a:solidFill>
          <a:ln w="25400" cap="flat" cmpd="sng" algn="ctr">
            <a:solidFill>
              <a:srgbClr val="0F96AA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48" name="Straight Connector 47"/>
          <p:cNvCxnSpPr/>
          <p:nvPr>
            <p:custDataLst>
              <p:tags r:id="rId7"/>
            </p:custDataLst>
          </p:nvPr>
        </p:nvCxnSpPr>
        <p:spPr bwMode="auto">
          <a:xfrm>
            <a:off x="1412016" y="4480755"/>
            <a:ext cx="0" cy="0"/>
          </a:xfrm>
          <a:prstGeom prst="line">
            <a:avLst/>
          </a:prstGeom>
          <a:solidFill>
            <a:srgbClr val="0F4B5F"/>
          </a:solidFill>
          <a:ln w="12700" cap="flat" cmpd="sng" algn="ctr">
            <a:solidFill>
              <a:srgbClr val="0F96AA"/>
            </a:solidFill>
            <a:prstDash val="solid"/>
            <a:round/>
            <a:headEnd type="none" w="med" len="med"/>
            <a:tailEnd type="none"/>
          </a:ln>
          <a:effectLst/>
        </p:spPr>
      </p:cxnSp>
      <p:pic>
        <p:nvPicPr>
          <p:cNvPr id="50" name="Picture 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 rotWithShape="1"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67" b="4865"/>
          <a:stretch/>
        </p:blipFill>
        <p:spPr bwMode="auto">
          <a:xfrm>
            <a:off x="64866" y="4867702"/>
            <a:ext cx="462548" cy="374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0" name="Straight Connector 69"/>
          <p:cNvCxnSpPr/>
          <p:nvPr>
            <p:custDataLst>
              <p:tags r:id="rId9"/>
            </p:custDataLst>
          </p:nvPr>
        </p:nvCxnSpPr>
        <p:spPr bwMode="auto">
          <a:xfrm flipH="1" flipV="1">
            <a:off x="488179" y="5054981"/>
            <a:ext cx="263270" cy="512"/>
          </a:xfrm>
          <a:prstGeom prst="line">
            <a:avLst/>
          </a:prstGeom>
          <a:solidFill>
            <a:srgbClr val="0F4B5F"/>
          </a:solidFill>
          <a:ln w="25400" cap="flat" cmpd="sng" algn="ctr">
            <a:solidFill>
              <a:srgbClr val="0F96AA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73" name="Oval 72"/>
          <p:cNvSpPr/>
          <p:nvPr>
            <p:custDataLst>
              <p:tags r:id="rId10"/>
            </p:custDataLst>
          </p:nvPr>
        </p:nvSpPr>
        <p:spPr bwMode="auto">
          <a:xfrm>
            <a:off x="775889" y="5519931"/>
            <a:ext cx="291401" cy="280918"/>
          </a:xfrm>
          <a:prstGeom prst="ellips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74" name="Oval 73"/>
          <p:cNvSpPr/>
          <p:nvPr>
            <p:custDataLst>
              <p:tags r:id="rId11"/>
            </p:custDataLst>
          </p:nvPr>
        </p:nvSpPr>
        <p:spPr bwMode="auto">
          <a:xfrm>
            <a:off x="936262" y="5519931"/>
            <a:ext cx="291401" cy="280918"/>
          </a:xfrm>
          <a:prstGeom prst="ellips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75" name="Rectangle 74"/>
          <p:cNvSpPr/>
          <p:nvPr>
            <p:custDataLst>
              <p:tags r:id="rId12"/>
            </p:custDataLst>
          </p:nvPr>
        </p:nvSpPr>
        <p:spPr bwMode="auto">
          <a:xfrm>
            <a:off x="1310124" y="5473111"/>
            <a:ext cx="48567" cy="374558"/>
          </a:xfrm>
          <a:prstGeom prst="rect">
            <a:avLst/>
          </a:prstGeom>
          <a:solidFill>
            <a:srgbClr val="0F96AA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81" name="Curved Connector 80"/>
          <p:cNvCxnSpPr/>
          <p:nvPr>
            <p:custDataLst>
              <p:tags r:id="rId13"/>
            </p:custDataLst>
          </p:nvPr>
        </p:nvCxnSpPr>
        <p:spPr bwMode="auto">
          <a:xfrm rot="16200000" flipH="1">
            <a:off x="1911878" y="5736829"/>
            <a:ext cx="280918" cy="48568"/>
          </a:xfrm>
          <a:prstGeom prst="curvedConnector3">
            <a:avLst>
              <a:gd name="adj1" fmla="val 50000"/>
            </a:avLst>
          </a:prstGeom>
          <a:solidFill>
            <a:srgbClr val="0F4B5F"/>
          </a:solidFill>
          <a:ln w="127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87" name="Straight Connector 86"/>
          <p:cNvCxnSpPr/>
          <p:nvPr>
            <p:custDataLst>
              <p:tags r:id="rId14"/>
            </p:custDataLst>
          </p:nvPr>
        </p:nvCxnSpPr>
        <p:spPr bwMode="auto">
          <a:xfrm>
            <a:off x="1429655" y="5802049"/>
            <a:ext cx="0" cy="0"/>
          </a:xfrm>
          <a:prstGeom prst="line">
            <a:avLst/>
          </a:prstGeom>
          <a:solidFill>
            <a:srgbClr val="0F4B5F"/>
          </a:solidFill>
          <a:ln w="12700" cap="flat" cmpd="sng" algn="ctr">
            <a:solidFill>
              <a:srgbClr val="0F96AA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89" name="Straight Connector 88"/>
          <p:cNvCxnSpPr>
            <a:stCxn id="73" idx="2"/>
          </p:cNvCxnSpPr>
          <p:nvPr>
            <p:custDataLst>
              <p:tags r:id="rId15"/>
            </p:custDataLst>
          </p:nvPr>
        </p:nvCxnSpPr>
        <p:spPr bwMode="auto">
          <a:xfrm flipH="1">
            <a:off x="700973" y="5660390"/>
            <a:ext cx="74915" cy="0"/>
          </a:xfrm>
          <a:prstGeom prst="line">
            <a:avLst/>
          </a:prstGeom>
          <a:solidFill>
            <a:srgbClr val="0F4B5F"/>
          </a:solidFill>
          <a:ln w="25400" cap="flat" cmpd="sng" algn="ctr">
            <a:solidFill>
              <a:srgbClr val="0F96AA"/>
            </a:solidFill>
            <a:prstDash val="solid"/>
            <a:round/>
            <a:headEnd type="none" w="med" len="med"/>
            <a:tailEnd type="none"/>
          </a:ln>
          <a:effectLst/>
        </p:spPr>
      </p:cxnSp>
      <p:grpSp>
        <p:nvGrpSpPr>
          <p:cNvPr id="200" name="Group 199"/>
          <p:cNvGrpSpPr>
            <a:grpSpLocks noChangeAspect="1"/>
          </p:cNvGrpSpPr>
          <p:nvPr/>
        </p:nvGrpSpPr>
        <p:grpSpPr>
          <a:xfrm rot="5400000">
            <a:off x="7431711" y="5491936"/>
            <a:ext cx="374076" cy="212038"/>
            <a:chOff x="6884641" y="4383135"/>
            <a:chExt cx="982701" cy="753989"/>
          </a:xfrm>
        </p:grpSpPr>
        <p:sp>
          <p:nvSpPr>
            <p:cNvPr id="249" name="Oval 248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0" name="Oval 249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51" name="Oval 250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209" name="Group 208"/>
          <p:cNvGrpSpPr>
            <a:grpSpLocks noChangeAspect="1"/>
          </p:cNvGrpSpPr>
          <p:nvPr/>
        </p:nvGrpSpPr>
        <p:grpSpPr>
          <a:xfrm rot="5400000">
            <a:off x="7687000" y="5487121"/>
            <a:ext cx="374076" cy="212038"/>
            <a:chOff x="6884641" y="4383135"/>
            <a:chExt cx="982701" cy="753989"/>
          </a:xfrm>
        </p:grpSpPr>
        <p:sp>
          <p:nvSpPr>
            <p:cNvPr id="222" name="Oval 221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23" name="Oval 222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24" name="Oval 223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210" name="Group 209"/>
          <p:cNvGrpSpPr>
            <a:grpSpLocks noChangeAspect="1"/>
          </p:cNvGrpSpPr>
          <p:nvPr/>
        </p:nvGrpSpPr>
        <p:grpSpPr>
          <a:xfrm rot="5400000">
            <a:off x="7952048" y="5490810"/>
            <a:ext cx="374076" cy="212038"/>
            <a:chOff x="6884641" y="4383135"/>
            <a:chExt cx="982701" cy="753989"/>
          </a:xfrm>
        </p:grpSpPr>
        <p:sp>
          <p:nvSpPr>
            <p:cNvPr id="219" name="Oval 218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20" name="Oval 219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21" name="Oval 220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211" name="Group 210"/>
          <p:cNvGrpSpPr>
            <a:grpSpLocks noChangeAspect="1"/>
          </p:cNvGrpSpPr>
          <p:nvPr/>
        </p:nvGrpSpPr>
        <p:grpSpPr>
          <a:xfrm rot="5400000">
            <a:off x="8220297" y="5495624"/>
            <a:ext cx="374076" cy="212038"/>
            <a:chOff x="6884641" y="4383135"/>
            <a:chExt cx="982701" cy="753989"/>
          </a:xfrm>
        </p:grpSpPr>
        <p:sp>
          <p:nvSpPr>
            <p:cNvPr id="216" name="Oval 215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7" name="Oval 216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8" name="Oval 217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212" name="Group 211"/>
          <p:cNvGrpSpPr>
            <a:grpSpLocks noChangeAspect="1"/>
          </p:cNvGrpSpPr>
          <p:nvPr/>
        </p:nvGrpSpPr>
        <p:grpSpPr>
          <a:xfrm rot="5400000">
            <a:off x="8485882" y="5495624"/>
            <a:ext cx="374076" cy="212038"/>
            <a:chOff x="6884641" y="4383135"/>
            <a:chExt cx="982701" cy="753989"/>
          </a:xfrm>
        </p:grpSpPr>
        <p:sp>
          <p:nvSpPr>
            <p:cNvPr id="213" name="Oval 212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4" name="Oval 213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215" name="Oval 214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3" name="Freeform 2"/>
          <p:cNvSpPr/>
          <p:nvPr/>
        </p:nvSpPr>
        <p:spPr>
          <a:xfrm>
            <a:off x="2014960" y="4476219"/>
            <a:ext cx="58538" cy="452176"/>
          </a:xfrm>
          <a:custGeom>
            <a:avLst/>
            <a:gdLst>
              <a:gd name="connsiteX0" fmla="*/ 58538 w 58538"/>
              <a:gd name="connsiteY0" fmla="*/ 0 h 452176"/>
              <a:gd name="connsiteX1" fmla="*/ 3272 w 58538"/>
              <a:gd name="connsiteY1" fmla="*/ 452176 h 45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8538" h="452176">
                <a:moveTo>
                  <a:pt x="58538" y="0"/>
                </a:moveTo>
                <a:cubicBezTo>
                  <a:pt x="23787" y="193431"/>
                  <a:pt x="-10963" y="386862"/>
                  <a:pt x="3272" y="452176"/>
                </a:cubicBezTo>
              </a:path>
            </a:pathLst>
          </a:cu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1" name="Freeform 260"/>
          <p:cNvSpPr/>
          <p:nvPr/>
        </p:nvSpPr>
        <p:spPr>
          <a:xfrm>
            <a:off x="2022020" y="5182007"/>
            <a:ext cx="45719" cy="452176"/>
          </a:xfrm>
          <a:custGeom>
            <a:avLst/>
            <a:gdLst>
              <a:gd name="connsiteX0" fmla="*/ 58538 w 58538"/>
              <a:gd name="connsiteY0" fmla="*/ 0 h 452176"/>
              <a:gd name="connsiteX1" fmla="*/ 3272 w 58538"/>
              <a:gd name="connsiteY1" fmla="*/ 452176 h 45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8538" h="452176">
                <a:moveTo>
                  <a:pt x="58538" y="0"/>
                </a:moveTo>
                <a:cubicBezTo>
                  <a:pt x="23787" y="193431"/>
                  <a:pt x="-10963" y="386862"/>
                  <a:pt x="3272" y="452176"/>
                </a:cubicBezTo>
              </a:path>
            </a:pathLst>
          </a:cu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3" name="Rounded Rectangular Callout 262"/>
          <p:cNvSpPr/>
          <p:nvPr/>
        </p:nvSpPr>
        <p:spPr>
          <a:xfrm>
            <a:off x="2091078" y="4607221"/>
            <a:ext cx="1296144" cy="479241"/>
          </a:xfrm>
          <a:prstGeom prst="wedgeRoundRectCallout">
            <a:avLst>
              <a:gd name="adj1" fmla="val -99627"/>
              <a:gd name="adj2" fmla="val 50110"/>
              <a:gd name="adj3" fmla="val 16667"/>
            </a:avLst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accent1">
                <a:shade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</a:rPr>
              <a:t>Onshore substation</a:t>
            </a:r>
          </a:p>
        </p:txBody>
      </p:sp>
      <p:sp>
        <p:nvSpPr>
          <p:cNvPr id="264" name="Rounded Rectangular Callout 263"/>
          <p:cNvSpPr/>
          <p:nvPr/>
        </p:nvSpPr>
        <p:spPr>
          <a:xfrm>
            <a:off x="4241046" y="5847345"/>
            <a:ext cx="1296144" cy="479241"/>
          </a:xfrm>
          <a:prstGeom prst="wedgeRoundRectCallout">
            <a:avLst>
              <a:gd name="adj1" fmla="val 75369"/>
              <a:gd name="adj2" fmla="val -39095"/>
              <a:gd name="adj3" fmla="val 16667"/>
            </a:avLst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accent1">
                <a:shade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</a:rPr>
              <a:t>Offshore substation</a:t>
            </a:r>
          </a:p>
        </p:txBody>
      </p:sp>
      <p:grpSp>
        <p:nvGrpSpPr>
          <p:cNvPr id="265" name="Group 264"/>
          <p:cNvGrpSpPr/>
          <p:nvPr/>
        </p:nvGrpSpPr>
        <p:grpSpPr>
          <a:xfrm>
            <a:off x="323528" y="1086455"/>
            <a:ext cx="1783266" cy="436468"/>
            <a:chOff x="323528" y="969179"/>
            <a:chExt cx="2163188" cy="578377"/>
          </a:xfrm>
        </p:grpSpPr>
        <p:sp>
          <p:nvSpPr>
            <p:cNvPr id="266" name="Pentagon 265"/>
            <p:cNvSpPr/>
            <p:nvPr/>
          </p:nvSpPr>
          <p:spPr bwMode="auto">
            <a:xfrm>
              <a:off x="323528" y="979363"/>
              <a:ext cx="1944216" cy="508251"/>
            </a:xfrm>
            <a:prstGeom prst="homePlate">
              <a:avLst/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</a:schemeClr>
                </a:gs>
                <a:gs pos="50000">
                  <a:schemeClr val="bg2">
                    <a:shade val="67500"/>
                    <a:satMod val="115000"/>
                  </a:schemeClr>
                </a:gs>
                <a:gs pos="100000">
                  <a:schemeClr val="bg2">
                    <a:shade val="100000"/>
                    <a:satMod val="115000"/>
                  </a:schemeClr>
                </a:gs>
              </a:gsLst>
              <a:lin ang="2700000" scaled="1"/>
              <a:tileRect/>
            </a:gra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267" name="Chevron 4"/>
            <p:cNvSpPr/>
            <p:nvPr/>
          </p:nvSpPr>
          <p:spPr>
            <a:xfrm>
              <a:off x="447002" y="969179"/>
              <a:ext cx="2039714" cy="57837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6012" tIns="32004" rIns="32004" bIns="32004" numCol="1" spcCol="1270" anchor="ctr" anchorCtr="0">
              <a:noAutofit/>
            </a:bodyPr>
            <a:lstStyle/>
            <a:p>
              <a:pPr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600" b="1" dirty="0">
                  <a:solidFill>
                    <a:prstClr val="white"/>
                  </a:solidFill>
                </a:rPr>
                <a:t>The Solution</a:t>
              </a:r>
            </a:p>
          </p:txBody>
        </p:sp>
      </p:grpSp>
      <p:sp>
        <p:nvSpPr>
          <p:cNvPr id="268" name="Rounded Rectangle 267"/>
          <p:cNvSpPr/>
          <p:nvPr>
            <p:custDataLst>
              <p:tags r:id="rId16"/>
            </p:custDataLst>
          </p:nvPr>
        </p:nvSpPr>
        <p:spPr bwMode="auto">
          <a:xfrm>
            <a:off x="601695" y="4101887"/>
            <a:ext cx="942357" cy="2055372"/>
          </a:xfrm>
          <a:prstGeom prst="roundRect">
            <a:avLst/>
          </a:prstGeom>
          <a:noFill/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260" name="Rounded Rectangle 259"/>
          <p:cNvSpPr/>
          <p:nvPr>
            <p:custDataLst>
              <p:tags r:id="rId17"/>
            </p:custDataLst>
          </p:nvPr>
        </p:nvSpPr>
        <p:spPr bwMode="auto">
          <a:xfrm>
            <a:off x="5921397" y="3853226"/>
            <a:ext cx="1161018" cy="1014476"/>
          </a:xfrm>
          <a:prstGeom prst="roundRect">
            <a:avLst/>
          </a:prstGeom>
          <a:solidFill>
            <a:schemeClr val="accent1">
              <a:lumMod val="40000"/>
              <a:lumOff val="60000"/>
              <a:alpha val="60000"/>
            </a:schemeClr>
          </a:solidFill>
          <a:ln w="12700" cap="flat" cmpd="sng" algn="ctr">
            <a:solidFill>
              <a:srgbClr val="B4C3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32" name="Oval 31"/>
          <p:cNvSpPr/>
          <p:nvPr>
            <p:custDataLst>
              <p:tags r:id="rId18"/>
            </p:custDataLst>
          </p:nvPr>
        </p:nvSpPr>
        <p:spPr bwMode="auto">
          <a:xfrm>
            <a:off x="6387370" y="4004896"/>
            <a:ext cx="291401" cy="280918"/>
          </a:xfrm>
          <a:prstGeom prst="ellips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33" name="Oval 32"/>
          <p:cNvSpPr/>
          <p:nvPr>
            <p:custDataLst>
              <p:tags r:id="rId19"/>
            </p:custDataLst>
          </p:nvPr>
        </p:nvSpPr>
        <p:spPr bwMode="auto">
          <a:xfrm>
            <a:off x="6533070" y="4010292"/>
            <a:ext cx="291401" cy="280918"/>
          </a:xfrm>
          <a:prstGeom prst="ellips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43" name="Rectangle 42"/>
          <p:cNvSpPr/>
          <p:nvPr>
            <p:custDataLst>
              <p:tags r:id="rId20"/>
            </p:custDataLst>
          </p:nvPr>
        </p:nvSpPr>
        <p:spPr bwMode="auto">
          <a:xfrm>
            <a:off x="6115841" y="4324781"/>
            <a:ext cx="97123" cy="93629"/>
          </a:xfrm>
          <a:prstGeom prst="rect">
            <a:avLst/>
          </a:prstGeom>
          <a:solidFill>
            <a:srgbClr val="0F96AA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45" name="Rectangle 44"/>
          <p:cNvSpPr/>
          <p:nvPr>
            <p:custDataLst>
              <p:tags r:id="rId21"/>
            </p:custDataLst>
          </p:nvPr>
        </p:nvSpPr>
        <p:spPr bwMode="auto">
          <a:xfrm>
            <a:off x="6271659" y="4005063"/>
            <a:ext cx="52783" cy="697243"/>
          </a:xfrm>
          <a:prstGeom prst="rect">
            <a:avLst/>
          </a:prstGeom>
          <a:solidFill>
            <a:srgbClr val="0F96AA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46" name="Straight Connector 45"/>
          <p:cNvCxnSpPr/>
          <p:nvPr>
            <p:custDataLst>
              <p:tags r:id="rId22"/>
            </p:custDataLst>
          </p:nvPr>
        </p:nvCxnSpPr>
        <p:spPr bwMode="auto">
          <a:xfrm>
            <a:off x="1227663" y="4357945"/>
            <a:ext cx="5061636" cy="14589"/>
          </a:xfrm>
          <a:prstGeom prst="line">
            <a:avLst/>
          </a:prstGeom>
          <a:solidFill>
            <a:srgbClr val="0F4B5F"/>
          </a:solidFill>
          <a:ln w="25400" cap="flat" cmpd="sng" algn="ctr">
            <a:solidFill>
              <a:srgbClr val="0F96AA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273" name="Rounded Rectangular Callout 272"/>
          <p:cNvSpPr/>
          <p:nvPr/>
        </p:nvSpPr>
        <p:spPr>
          <a:xfrm>
            <a:off x="8004775" y="4779557"/>
            <a:ext cx="1025475" cy="432048"/>
          </a:xfrm>
          <a:prstGeom prst="wedgeRoundRectCallout">
            <a:avLst>
              <a:gd name="adj1" fmla="val -27781"/>
              <a:gd name="adj2" fmla="val 89986"/>
              <a:gd name="adj3" fmla="val 16667"/>
            </a:avLst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</a:rPr>
              <a:t>Wind farm</a:t>
            </a:r>
          </a:p>
        </p:txBody>
      </p:sp>
      <p:sp>
        <p:nvSpPr>
          <p:cNvPr id="269" name="Oval 268"/>
          <p:cNvSpPr/>
          <p:nvPr>
            <p:custDataLst>
              <p:tags r:id="rId23"/>
            </p:custDataLst>
          </p:nvPr>
        </p:nvSpPr>
        <p:spPr bwMode="auto">
          <a:xfrm>
            <a:off x="6387369" y="4432030"/>
            <a:ext cx="291401" cy="280918"/>
          </a:xfrm>
          <a:prstGeom prst="ellips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270" name="Oval 269"/>
          <p:cNvSpPr/>
          <p:nvPr>
            <p:custDataLst>
              <p:tags r:id="rId24"/>
            </p:custDataLst>
          </p:nvPr>
        </p:nvSpPr>
        <p:spPr bwMode="auto">
          <a:xfrm>
            <a:off x="6533069" y="4437426"/>
            <a:ext cx="291401" cy="280918"/>
          </a:xfrm>
          <a:prstGeom prst="ellips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276" name="Rounded Rectangle 275"/>
          <p:cNvSpPr/>
          <p:nvPr>
            <p:custDataLst>
              <p:tags r:id="rId25"/>
            </p:custDataLst>
          </p:nvPr>
        </p:nvSpPr>
        <p:spPr bwMode="auto">
          <a:xfrm>
            <a:off x="5914331" y="5076982"/>
            <a:ext cx="1240091" cy="1091924"/>
          </a:xfrm>
          <a:prstGeom prst="roundRect">
            <a:avLst/>
          </a:prstGeom>
          <a:solidFill>
            <a:schemeClr val="accent1">
              <a:lumMod val="40000"/>
              <a:lumOff val="60000"/>
              <a:alpha val="60000"/>
            </a:schemeClr>
          </a:solidFill>
          <a:ln w="12700" cap="flat" cmpd="sng" algn="ctr">
            <a:solidFill>
              <a:srgbClr val="B4C3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277" name="Oval 276"/>
          <p:cNvSpPr/>
          <p:nvPr>
            <p:custDataLst>
              <p:tags r:id="rId26"/>
            </p:custDataLst>
          </p:nvPr>
        </p:nvSpPr>
        <p:spPr bwMode="auto">
          <a:xfrm>
            <a:off x="6387370" y="5306100"/>
            <a:ext cx="291401" cy="280918"/>
          </a:xfrm>
          <a:prstGeom prst="ellips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278" name="Oval 277"/>
          <p:cNvSpPr/>
          <p:nvPr>
            <p:custDataLst>
              <p:tags r:id="rId27"/>
            </p:custDataLst>
          </p:nvPr>
        </p:nvSpPr>
        <p:spPr bwMode="auto">
          <a:xfrm>
            <a:off x="6533070" y="5311496"/>
            <a:ext cx="291401" cy="280918"/>
          </a:xfrm>
          <a:prstGeom prst="ellips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280" name="Rectangle 279"/>
          <p:cNvSpPr/>
          <p:nvPr>
            <p:custDataLst>
              <p:tags r:id="rId28"/>
            </p:custDataLst>
          </p:nvPr>
        </p:nvSpPr>
        <p:spPr bwMode="auto">
          <a:xfrm>
            <a:off x="6115841" y="5606182"/>
            <a:ext cx="97123" cy="93629"/>
          </a:xfrm>
          <a:prstGeom prst="rect">
            <a:avLst/>
          </a:prstGeom>
          <a:solidFill>
            <a:srgbClr val="0F96AA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281" name="Rectangle 280"/>
          <p:cNvSpPr/>
          <p:nvPr>
            <p:custDataLst>
              <p:tags r:id="rId29"/>
            </p:custDataLst>
          </p:nvPr>
        </p:nvSpPr>
        <p:spPr bwMode="auto">
          <a:xfrm>
            <a:off x="6271659" y="5306267"/>
            <a:ext cx="52783" cy="697243"/>
          </a:xfrm>
          <a:prstGeom prst="rect">
            <a:avLst/>
          </a:prstGeom>
          <a:solidFill>
            <a:srgbClr val="0F96AA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282" name="Oval 281"/>
          <p:cNvSpPr/>
          <p:nvPr>
            <p:custDataLst>
              <p:tags r:id="rId30"/>
            </p:custDataLst>
          </p:nvPr>
        </p:nvSpPr>
        <p:spPr bwMode="auto">
          <a:xfrm>
            <a:off x="6387369" y="5733234"/>
            <a:ext cx="291401" cy="280918"/>
          </a:xfrm>
          <a:prstGeom prst="ellips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283" name="Oval 282"/>
          <p:cNvSpPr/>
          <p:nvPr>
            <p:custDataLst>
              <p:tags r:id="rId31"/>
            </p:custDataLst>
          </p:nvPr>
        </p:nvSpPr>
        <p:spPr bwMode="auto">
          <a:xfrm>
            <a:off x="6533069" y="5738630"/>
            <a:ext cx="291401" cy="280918"/>
          </a:xfrm>
          <a:prstGeom prst="ellips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80" name="Straight Connector 79"/>
          <p:cNvCxnSpPr>
            <a:stCxn id="74" idx="6"/>
            <a:endCxn id="281" idx="1"/>
          </p:cNvCxnSpPr>
          <p:nvPr>
            <p:custDataLst>
              <p:tags r:id="rId32"/>
            </p:custDataLst>
          </p:nvPr>
        </p:nvCxnSpPr>
        <p:spPr bwMode="auto">
          <a:xfrm flipV="1">
            <a:off x="1227663" y="5654889"/>
            <a:ext cx="5043996" cy="5501"/>
          </a:xfrm>
          <a:prstGeom prst="line">
            <a:avLst/>
          </a:prstGeom>
          <a:solidFill>
            <a:srgbClr val="0F4B5F"/>
          </a:solidFill>
          <a:ln w="25400" cap="flat" cmpd="sng" algn="ctr">
            <a:solidFill>
              <a:srgbClr val="0F96AA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284" name="Rectangle 283"/>
          <p:cNvSpPr/>
          <p:nvPr>
            <p:custDataLst>
              <p:tags r:id="rId33"/>
            </p:custDataLst>
          </p:nvPr>
        </p:nvSpPr>
        <p:spPr bwMode="auto">
          <a:xfrm>
            <a:off x="6912007" y="4005063"/>
            <a:ext cx="52783" cy="697243"/>
          </a:xfrm>
          <a:prstGeom prst="rect">
            <a:avLst/>
          </a:prstGeom>
          <a:solidFill>
            <a:srgbClr val="0F96AA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sp>
        <p:nvSpPr>
          <p:cNvPr id="285" name="Rectangle 284"/>
          <p:cNvSpPr/>
          <p:nvPr>
            <p:custDataLst>
              <p:tags r:id="rId34"/>
            </p:custDataLst>
          </p:nvPr>
        </p:nvSpPr>
        <p:spPr bwMode="auto">
          <a:xfrm>
            <a:off x="6912007" y="5301730"/>
            <a:ext cx="52783" cy="697243"/>
          </a:xfrm>
          <a:prstGeom prst="rect">
            <a:avLst/>
          </a:prstGeom>
          <a:solidFill>
            <a:srgbClr val="0F96AA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kern="0" dirty="0">
              <a:solidFill>
                <a:prstClr val="white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287" name="Straight Connector 286"/>
          <p:cNvCxnSpPr/>
          <p:nvPr>
            <p:custDataLst>
              <p:tags r:id="rId35"/>
            </p:custDataLst>
          </p:nvPr>
        </p:nvCxnSpPr>
        <p:spPr bwMode="auto">
          <a:xfrm flipH="1" flipV="1">
            <a:off x="6814563" y="4152570"/>
            <a:ext cx="106946" cy="1"/>
          </a:xfrm>
          <a:prstGeom prst="line">
            <a:avLst/>
          </a:prstGeom>
          <a:solidFill>
            <a:srgbClr val="0F4B5F"/>
          </a:solidFill>
          <a:ln w="25400" cap="flat" cmpd="sng" algn="ctr">
            <a:solidFill>
              <a:srgbClr val="0F96AA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88" name="Straight Connector 287"/>
          <p:cNvCxnSpPr/>
          <p:nvPr>
            <p:custDataLst>
              <p:tags r:id="rId36"/>
            </p:custDataLst>
          </p:nvPr>
        </p:nvCxnSpPr>
        <p:spPr bwMode="auto">
          <a:xfrm flipH="1" flipV="1">
            <a:off x="6294544" y="4145354"/>
            <a:ext cx="106946" cy="1"/>
          </a:xfrm>
          <a:prstGeom prst="line">
            <a:avLst/>
          </a:prstGeom>
          <a:solidFill>
            <a:srgbClr val="0F4B5F"/>
          </a:solidFill>
          <a:ln w="25400" cap="flat" cmpd="sng" algn="ctr">
            <a:solidFill>
              <a:srgbClr val="0F96AA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89" name="Straight Connector 288"/>
          <p:cNvCxnSpPr/>
          <p:nvPr>
            <p:custDataLst>
              <p:tags r:id="rId37"/>
            </p:custDataLst>
          </p:nvPr>
        </p:nvCxnSpPr>
        <p:spPr bwMode="auto">
          <a:xfrm flipH="1" flipV="1">
            <a:off x="6270590" y="4577885"/>
            <a:ext cx="106946" cy="1"/>
          </a:xfrm>
          <a:prstGeom prst="line">
            <a:avLst/>
          </a:prstGeom>
          <a:solidFill>
            <a:srgbClr val="0F4B5F"/>
          </a:solidFill>
          <a:ln w="25400" cap="flat" cmpd="sng" algn="ctr">
            <a:solidFill>
              <a:srgbClr val="0F96AA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90" name="Straight Connector 289"/>
          <p:cNvCxnSpPr/>
          <p:nvPr>
            <p:custDataLst>
              <p:tags r:id="rId38"/>
            </p:custDataLst>
          </p:nvPr>
        </p:nvCxnSpPr>
        <p:spPr bwMode="auto">
          <a:xfrm flipH="1" flipV="1">
            <a:off x="6824471" y="4583925"/>
            <a:ext cx="106946" cy="1"/>
          </a:xfrm>
          <a:prstGeom prst="line">
            <a:avLst/>
          </a:prstGeom>
          <a:solidFill>
            <a:srgbClr val="0F4B5F"/>
          </a:solidFill>
          <a:ln w="25400" cap="flat" cmpd="sng" algn="ctr">
            <a:solidFill>
              <a:srgbClr val="0F96AA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91" name="Straight Connector 290"/>
          <p:cNvCxnSpPr/>
          <p:nvPr>
            <p:custDataLst>
              <p:tags r:id="rId39"/>
            </p:custDataLst>
          </p:nvPr>
        </p:nvCxnSpPr>
        <p:spPr bwMode="auto">
          <a:xfrm flipH="1" flipV="1">
            <a:off x="6288230" y="5451955"/>
            <a:ext cx="106946" cy="1"/>
          </a:xfrm>
          <a:prstGeom prst="line">
            <a:avLst/>
          </a:prstGeom>
          <a:solidFill>
            <a:srgbClr val="0F4B5F"/>
          </a:solidFill>
          <a:ln w="25400" cap="flat" cmpd="sng" algn="ctr">
            <a:solidFill>
              <a:srgbClr val="0F96AA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92" name="Straight Connector 291"/>
          <p:cNvCxnSpPr/>
          <p:nvPr>
            <p:custDataLst>
              <p:tags r:id="rId40"/>
            </p:custDataLst>
          </p:nvPr>
        </p:nvCxnSpPr>
        <p:spPr bwMode="auto">
          <a:xfrm flipH="1" flipV="1">
            <a:off x="6814563" y="5451956"/>
            <a:ext cx="106946" cy="1"/>
          </a:xfrm>
          <a:prstGeom prst="line">
            <a:avLst/>
          </a:prstGeom>
          <a:solidFill>
            <a:srgbClr val="0F4B5F"/>
          </a:solidFill>
          <a:ln w="25400" cap="flat" cmpd="sng" algn="ctr">
            <a:solidFill>
              <a:srgbClr val="0F96AA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93" name="Straight Connector 292"/>
          <p:cNvCxnSpPr/>
          <p:nvPr>
            <p:custDataLst>
              <p:tags r:id="rId41"/>
            </p:custDataLst>
          </p:nvPr>
        </p:nvCxnSpPr>
        <p:spPr bwMode="auto">
          <a:xfrm flipH="1" flipV="1">
            <a:off x="6280423" y="5879842"/>
            <a:ext cx="106946" cy="1"/>
          </a:xfrm>
          <a:prstGeom prst="line">
            <a:avLst/>
          </a:prstGeom>
          <a:solidFill>
            <a:srgbClr val="0F4B5F"/>
          </a:solidFill>
          <a:ln w="25400" cap="flat" cmpd="sng" algn="ctr">
            <a:solidFill>
              <a:srgbClr val="0F96AA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94" name="Straight Connector 293"/>
          <p:cNvCxnSpPr/>
          <p:nvPr>
            <p:custDataLst>
              <p:tags r:id="rId42"/>
            </p:custDataLst>
          </p:nvPr>
        </p:nvCxnSpPr>
        <p:spPr bwMode="auto">
          <a:xfrm flipH="1" flipV="1">
            <a:off x="6805061" y="5864901"/>
            <a:ext cx="106946" cy="1"/>
          </a:xfrm>
          <a:prstGeom prst="line">
            <a:avLst/>
          </a:prstGeom>
          <a:solidFill>
            <a:srgbClr val="0F4B5F"/>
          </a:solidFill>
          <a:ln w="25400" cap="flat" cmpd="sng" algn="ctr">
            <a:solidFill>
              <a:srgbClr val="0F96AA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91" name="Straight Connector 90"/>
          <p:cNvCxnSpPr/>
          <p:nvPr/>
        </p:nvCxnSpPr>
        <p:spPr>
          <a:xfrm>
            <a:off x="5714263" y="4577886"/>
            <a:ext cx="556328" cy="0"/>
          </a:xfrm>
          <a:prstGeom prst="line">
            <a:avLst/>
          </a:prstGeom>
          <a:ln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Straight Connector 297"/>
          <p:cNvCxnSpPr/>
          <p:nvPr/>
        </p:nvCxnSpPr>
        <p:spPr>
          <a:xfrm>
            <a:off x="5724095" y="5454324"/>
            <a:ext cx="556328" cy="0"/>
          </a:xfrm>
          <a:prstGeom prst="line">
            <a:avLst/>
          </a:prstGeom>
          <a:ln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" name="Straight Connector 298"/>
          <p:cNvCxnSpPr/>
          <p:nvPr/>
        </p:nvCxnSpPr>
        <p:spPr>
          <a:xfrm flipV="1">
            <a:off x="5724095" y="4577885"/>
            <a:ext cx="0" cy="868674"/>
          </a:xfrm>
          <a:prstGeom prst="line">
            <a:avLst/>
          </a:prstGeom>
          <a:ln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1" name="Straight Connector 300"/>
          <p:cNvCxnSpPr/>
          <p:nvPr/>
        </p:nvCxnSpPr>
        <p:spPr>
          <a:xfrm flipV="1">
            <a:off x="7298439" y="4572489"/>
            <a:ext cx="0" cy="868674"/>
          </a:xfrm>
          <a:prstGeom prst="line">
            <a:avLst/>
          </a:prstGeom>
          <a:ln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5" name="Straight Connector 304"/>
          <p:cNvCxnSpPr>
            <a:endCxn id="213" idx="0"/>
          </p:cNvCxnSpPr>
          <p:nvPr/>
        </p:nvCxnSpPr>
        <p:spPr>
          <a:xfrm flipV="1">
            <a:off x="7154422" y="5605497"/>
            <a:ext cx="1624518" cy="15157"/>
          </a:xfrm>
          <a:prstGeom prst="lin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Straight Connector 310"/>
          <p:cNvCxnSpPr/>
          <p:nvPr/>
        </p:nvCxnSpPr>
        <p:spPr>
          <a:xfrm flipV="1">
            <a:off x="6948017" y="5451955"/>
            <a:ext cx="350422" cy="1405"/>
          </a:xfrm>
          <a:prstGeom prst="line">
            <a:avLst/>
          </a:prstGeom>
          <a:ln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3" name="Straight Connector 312"/>
          <p:cNvCxnSpPr/>
          <p:nvPr/>
        </p:nvCxnSpPr>
        <p:spPr>
          <a:xfrm flipV="1">
            <a:off x="6945092" y="4583926"/>
            <a:ext cx="350422" cy="1405"/>
          </a:xfrm>
          <a:prstGeom prst="line">
            <a:avLst/>
          </a:prstGeom>
          <a:ln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TextBox 314"/>
          <p:cNvSpPr txBox="1"/>
          <p:nvPr/>
        </p:nvSpPr>
        <p:spPr>
          <a:xfrm>
            <a:off x="5095994" y="4846842"/>
            <a:ext cx="8755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Arial Black" panose="020B0A04020102020204" pitchFamily="34" charset="0"/>
              </a:rPr>
              <a:t>High Voltage</a:t>
            </a:r>
          </a:p>
        </p:txBody>
      </p:sp>
      <p:sp>
        <p:nvSpPr>
          <p:cNvPr id="316" name="TextBox 315"/>
          <p:cNvSpPr txBox="1"/>
          <p:nvPr/>
        </p:nvSpPr>
        <p:spPr>
          <a:xfrm>
            <a:off x="7072390" y="4843895"/>
            <a:ext cx="8675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Arial Black" panose="020B0A04020102020204" pitchFamily="34" charset="0"/>
              </a:rPr>
              <a:t>Medium voltage</a:t>
            </a:r>
          </a:p>
        </p:txBody>
      </p:sp>
      <p:grpSp>
        <p:nvGrpSpPr>
          <p:cNvPr id="317" name="Group 316"/>
          <p:cNvGrpSpPr>
            <a:grpSpLocks noChangeAspect="1"/>
          </p:cNvGrpSpPr>
          <p:nvPr/>
        </p:nvGrpSpPr>
        <p:grpSpPr>
          <a:xfrm rot="16200000" flipH="1">
            <a:off x="7338366" y="5883054"/>
            <a:ext cx="374076" cy="212038"/>
            <a:chOff x="6884641" y="4383135"/>
            <a:chExt cx="982701" cy="753989"/>
          </a:xfrm>
        </p:grpSpPr>
        <p:sp>
          <p:nvSpPr>
            <p:cNvPr id="318" name="Oval 317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19" name="Oval 318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0" name="Oval 319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321" name="Group 320"/>
          <p:cNvGrpSpPr>
            <a:grpSpLocks noChangeAspect="1"/>
          </p:cNvGrpSpPr>
          <p:nvPr/>
        </p:nvGrpSpPr>
        <p:grpSpPr>
          <a:xfrm rot="16200000" flipH="1">
            <a:off x="7593655" y="5878239"/>
            <a:ext cx="374076" cy="212038"/>
            <a:chOff x="6884641" y="4383135"/>
            <a:chExt cx="982701" cy="753989"/>
          </a:xfrm>
        </p:grpSpPr>
        <p:sp>
          <p:nvSpPr>
            <p:cNvPr id="322" name="Oval 321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3" name="Oval 322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4" name="Oval 323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325" name="Group 324"/>
          <p:cNvGrpSpPr>
            <a:grpSpLocks noChangeAspect="1"/>
          </p:cNvGrpSpPr>
          <p:nvPr/>
        </p:nvGrpSpPr>
        <p:grpSpPr>
          <a:xfrm rot="16200000" flipH="1">
            <a:off x="7858703" y="5881928"/>
            <a:ext cx="374076" cy="212038"/>
            <a:chOff x="6884641" y="4383135"/>
            <a:chExt cx="982701" cy="753989"/>
          </a:xfrm>
        </p:grpSpPr>
        <p:sp>
          <p:nvSpPr>
            <p:cNvPr id="326" name="Oval 325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7" name="Oval 326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28" name="Oval 327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329" name="Group 328"/>
          <p:cNvGrpSpPr>
            <a:grpSpLocks noChangeAspect="1"/>
          </p:cNvGrpSpPr>
          <p:nvPr/>
        </p:nvGrpSpPr>
        <p:grpSpPr>
          <a:xfrm rot="16200000" flipH="1">
            <a:off x="8126952" y="5886742"/>
            <a:ext cx="374076" cy="212038"/>
            <a:chOff x="6884641" y="4383135"/>
            <a:chExt cx="982701" cy="753989"/>
          </a:xfrm>
        </p:grpSpPr>
        <p:sp>
          <p:nvSpPr>
            <p:cNvPr id="330" name="Oval 329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31" name="Oval 330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32" name="Oval 331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333" name="Group 332"/>
          <p:cNvGrpSpPr>
            <a:grpSpLocks noChangeAspect="1"/>
          </p:cNvGrpSpPr>
          <p:nvPr/>
        </p:nvGrpSpPr>
        <p:grpSpPr>
          <a:xfrm rot="16200000" flipH="1">
            <a:off x="8392537" y="5886742"/>
            <a:ext cx="374076" cy="212038"/>
            <a:chOff x="6884641" y="4383135"/>
            <a:chExt cx="982701" cy="753989"/>
          </a:xfrm>
        </p:grpSpPr>
        <p:sp>
          <p:nvSpPr>
            <p:cNvPr id="334" name="Oval 333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35" name="Oval 334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36" name="Oval 335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</p:grpSp>
      <p:cxnSp>
        <p:nvCxnSpPr>
          <p:cNvPr id="342" name="Straight Connector 341"/>
          <p:cNvCxnSpPr>
            <a:endCxn id="336" idx="1"/>
          </p:cNvCxnSpPr>
          <p:nvPr/>
        </p:nvCxnSpPr>
        <p:spPr>
          <a:xfrm>
            <a:off x="7154422" y="5988755"/>
            <a:ext cx="1484558" cy="7100"/>
          </a:xfrm>
          <a:prstGeom prst="lin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4" name="Group 343"/>
          <p:cNvGrpSpPr>
            <a:grpSpLocks noChangeAspect="1"/>
          </p:cNvGrpSpPr>
          <p:nvPr/>
        </p:nvGrpSpPr>
        <p:grpSpPr>
          <a:xfrm rot="5400000">
            <a:off x="7349679" y="3888205"/>
            <a:ext cx="374076" cy="212038"/>
            <a:chOff x="6884641" y="4383135"/>
            <a:chExt cx="982701" cy="753989"/>
          </a:xfrm>
        </p:grpSpPr>
        <p:sp>
          <p:nvSpPr>
            <p:cNvPr id="345" name="Oval 344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46" name="Oval 345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47" name="Oval 346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348" name="Group 347"/>
          <p:cNvGrpSpPr>
            <a:grpSpLocks noChangeAspect="1"/>
          </p:cNvGrpSpPr>
          <p:nvPr/>
        </p:nvGrpSpPr>
        <p:grpSpPr>
          <a:xfrm rot="5400000">
            <a:off x="7604968" y="3883390"/>
            <a:ext cx="374076" cy="212038"/>
            <a:chOff x="6884641" y="4383135"/>
            <a:chExt cx="982701" cy="753989"/>
          </a:xfrm>
        </p:grpSpPr>
        <p:sp>
          <p:nvSpPr>
            <p:cNvPr id="349" name="Oval 348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50" name="Oval 349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51" name="Oval 350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352" name="Group 351"/>
          <p:cNvGrpSpPr>
            <a:grpSpLocks noChangeAspect="1"/>
          </p:cNvGrpSpPr>
          <p:nvPr/>
        </p:nvGrpSpPr>
        <p:grpSpPr>
          <a:xfrm rot="5400000">
            <a:off x="7870016" y="3887079"/>
            <a:ext cx="374076" cy="212038"/>
            <a:chOff x="6884641" y="4383135"/>
            <a:chExt cx="982701" cy="753989"/>
          </a:xfrm>
        </p:grpSpPr>
        <p:sp>
          <p:nvSpPr>
            <p:cNvPr id="353" name="Oval 352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54" name="Oval 353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55" name="Oval 354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356" name="Group 355"/>
          <p:cNvGrpSpPr>
            <a:grpSpLocks noChangeAspect="1"/>
          </p:cNvGrpSpPr>
          <p:nvPr/>
        </p:nvGrpSpPr>
        <p:grpSpPr>
          <a:xfrm rot="5400000">
            <a:off x="8138265" y="3891893"/>
            <a:ext cx="374076" cy="212038"/>
            <a:chOff x="6884641" y="4383135"/>
            <a:chExt cx="982701" cy="753989"/>
          </a:xfrm>
        </p:grpSpPr>
        <p:sp>
          <p:nvSpPr>
            <p:cNvPr id="357" name="Oval 356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58" name="Oval 357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59" name="Oval 358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360" name="Group 359"/>
          <p:cNvGrpSpPr>
            <a:grpSpLocks noChangeAspect="1"/>
          </p:cNvGrpSpPr>
          <p:nvPr/>
        </p:nvGrpSpPr>
        <p:grpSpPr>
          <a:xfrm rot="5400000">
            <a:off x="8403850" y="3891893"/>
            <a:ext cx="374076" cy="212038"/>
            <a:chOff x="6884641" y="4383135"/>
            <a:chExt cx="982701" cy="753989"/>
          </a:xfrm>
        </p:grpSpPr>
        <p:sp>
          <p:nvSpPr>
            <p:cNvPr id="361" name="Oval 360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62" name="Oval 361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63" name="Oval 362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</p:grpSp>
      <p:cxnSp>
        <p:nvCxnSpPr>
          <p:cNvPr id="364" name="Straight Connector 363"/>
          <p:cNvCxnSpPr>
            <a:endCxn id="361" idx="0"/>
          </p:cNvCxnSpPr>
          <p:nvPr/>
        </p:nvCxnSpPr>
        <p:spPr>
          <a:xfrm flipV="1">
            <a:off x="7072390" y="4001766"/>
            <a:ext cx="1624518" cy="15157"/>
          </a:xfrm>
          <a:prstGeom prst="lin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5" name="Group 364"/>
          <p:cNvGrpSpPr>
            <a:grpSpLocks noChangeAspect="1"/>
          </p:cNvGrpSpPr>
          <p:nvPr/>
        </p:nvGrpSpPr>
        <p:grpSpPr>
          <a:xfrm rot="16200000" flipH="1">
            <a:off x="7256334" y="4279323"/>
            <a:ext cx="374076" cy="212038"/>
            <a:chOff x="6884641" y="4383135"/>
            <a:chExt cx="982701" cy="753989"/>
          </a:xfrm>
        </p:grpSpPr>
        <p:sp>
          <p:nvSpPr>
            <p:cNvPr id="366" name="Oval 365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67" name="Oval 366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68" name="Oval 367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369" name="Group 368"/>
          <p:cNvGrpSpPr>
            <a:grpSpLocks noChangeAspect="1"/>
          </p:cNvGrpSpPr>
          <p:nvPr/>
        </p:nvGrpSpPr>
        <p:grpSpPr>
          <a:xfrm rot="16200000" flipH="1">
            <a:off x="7511623" y="4274508"/>
            <a:ext cx="374076" cy="212038"/>
            <a:chOff x="6884641" y="4383135"/>
            <a:chExt cx="982701" cy="753989"/>
          </a:xfrm>
        </p:grpSpPr>
        <p:sp>
          <p:nvSpPr>
            <p:cNvPr id="370" name="Oval 369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71" name="Oval 370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72" name="Oval 371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373" name="Group 372"/>
          <p:cNvGrpSpPr>
            <a:grpSpLocks noChangeAspect="1"/>
          </p:cNvGrpSpPr>
          <p:nvPr/>
        </p:nvGrpSpPr>
        <p:grpSpPr>
          <a:xfrm rot="16200000" flipH="1">
            <a:off x="7776671" y="4278197"/>
            <a:ext cx="374076" cy="212038"/>
            <a:chOff x="6884641" y="4383135"/>
            <a:chExt cx="982701" cy="753989"/>
          </a:xfrm>
        </p:grpSpPr>
        <p:sp>
          <p:nvSpPr>
            <p:cNvPr id="374" name="Oval 373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75" name="Oval 374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76" name="Oval 375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377" name="Group 376"/>
          <p:cNvGrpSpPr>
            <a:grpSpLocks noChangeAspect="1"/>
          </p:cNvGrpSpPr>
          <p:nvPr/>
        </p:nvGrpSpPr>
        <p:grpSpPr>
          <a:xfrm rot="16200000" flipH="1">
            <a:off x="8044920" y="4283011"/>
            <a:ext cx="374076" cy="212038"/>
            <a:chOff x="6884641" y="4383135"/>
            <a:chExt cx="982701" cy="753989"/>
          </a:xfrm>
        </p:grpSpPr>
        <p:sp>
          <p:nvSpPr>
            <p:cNvPr id="378" name="Oval 377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79" name="Oval 378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80" name="Oval 379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381" name="Group 380"/>
          <p:cNvGrpSpPr>
            <a:grpSpLocks noChangeAspect="1"/>
          </p:cNvGrpSpPr>
          <p:nvPr/>
        </p:nvGrpSpPr>
        <p:grpSpPr>
          <a:xfrm rot="16200000" flipH="1">
            <a:off x="8310505" y="4283011"/>
            <a:ext cx="374076" cy="212038"/>
            <a:chOff x="6884641" y="4383135"/>
            <a:chExt cx="982701" cy="753989"/>
          </a:xfrm>
        </p:grpSpPr>
        <p:sp>
          <p:nvSpPr>
            <p:cNvPr id="382" name="Oval 381"/>
            <p:cNvSpPr/>
            <p:nvPr/>
          </p:nvSpPr>
          <p:spPr bwMode="auto">
            <a:xfrm>
              <a:off x="7314104" y="4383135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83" name="Oval 382"/>
            <p:cNvSpPr/>
            <p:nvPr/>
          </p:nvSpPr>
          <p:spPr bwMode="auto">
            <a:xfrm rot="-18000000">
              <a:off x="7100665" y="4767410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384" name="Oval 383"/>
            <p:cNvSpPr/>
            <p:nvPr/>
          </p:nvSpPr>
          <p:spPr bwMode="auto">
            <a:xfrm rot="18000000">
              <a:off x="7507302" y="4777084"/>
              <a:ext cx="144016" cy="576064"/>
            </a:xfrm>
            <a:prstGeom prst="ellipse">
              <a:avLst/>
            </a:prstGeom>
            <a:solidFill>
              <a:srgbClr val="0F96A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kern="0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</p:grpSp>
      <p:cxnSp>
        <p:nvCxnSpPr>
          <p:cNvPr id="385" name="Straight Connector 384"/>
          <p:cNvCxnSpPr>
            <a:endCxn id="384" idx="1"/>
          </p:cNvCxnSpPr>
          <p:nvPr/>
        </p:nvCxnSpPr>
        <p:spPr>
          <a:xfrm>
            <a:off x="7072390" y="4385024"/>
            <a:ext cx="1484558" cy="7100"/>
          </a:xfrm>
          <a:prstGeom prst="lin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/>
          <p:nvPr/>
        </p:nvCxnSpPr>
        <p:spPr>
          <a:xfrm>
            <a:off x="29595" y="3212976"/>
            <a:ext cx="9150917" cy="0"/>
          </a:xfrm>
          <a:prstGeom prst="line">
            <a:avLst/>
          </a:prstGeom>
          <a:ln w="222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/>
        </p:nvCxnSpPr>
        <p:spPr>
          <a:xfrm>
            <a:off x="29595" y="1916832"/>
            <a:ext cx="9150917" cy="0"/>
          </a:xfrm>
          <a:prstGeom prst="line">
            <a:avLst/>
          </a:prstGeom>
          <a:ln w="222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ounded Rectangular Callout 151"/>
          <p:cNvSpPr/>
          <p:nvPr/>
        </p:nvSpPr>
        <p:spPr>
          <a:xfrm>
            <a:off x="8018519" y="4779557"/>
            <a:ext cx="1025475" cy="432048"/>
          </a:xfrm>
          <a:prstGeom prst="wedgeRoundRectCallout">
            <a:avLst>
              <a:gd name="adj1" fmla="val -34729"/>
              <a:gd name="adj2" fmla="val -99668"/>
              <a:gd name="adj3" fmla="val 16667"/>
            </a:avLst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accent1">
                <a:shade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400" b="1" dirty="0">
                <a:solidFill>
                  <a:prstClr val="white"/>
                </a:solidFill>
              </a:rPr>
              <a:t>Wind farm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907704" y="1120023"/>
            <a:ext cx="48304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High Voltage interlink cable</a:t>
            </a:r>
          </a:p>
        </p:txBody>
      </p:sp>
    </p:spTree>
    <p:extLst>
      <p:ext uri="{BB962C8B-B14F-4D97-AF65-F5344CB8AC3E}">
        <p14:creationId xmlns:p14="http://schemas.microsoft.com/office/powerpoint/2010/main" val="1294111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88"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67744" y="764704"/>
            <a:ext cx="8410962" cy="338554"/>
          </a:xfrm>
        </p:spPr>
        <p:txBody>
          <a:bodyPr/>
          <a:lstStyle/>
          <a:p>
            <a:r>
              <a:rPr lang="en-GB" dirty="0"/>
              <a:t>Thank you for listening!</a:t>
            </a:r>
          </a:p>
        </p:txBody>
      </p:sp>
    </p:spTree>
    <p:extLst>
      <p:ext uri="{BB962C8B-B14F-4D97-AF65-F5344CB8AC3E}">
        <p14:creationId xmlns:p14="http://schemas.microsoft.com/office/powerpoint/2010/main" val="18683970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9&quot;/&gt;&lt;CPresentation id=&quot;1&quot;&gt;&lt;m_precDefaultNumber&gt;&lt;m_bNumberIsYear val=&quot;0&quot;/&gt;&lt;/m_precDefaultNumber&gt;&lt;m_precDefaultPercent&gt;&lt;m_bNumberIsYear val=&quot;0&quot;/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ZQ0u41WUWdIXSFk.taP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EFQFYDvUi4erUcgr5ue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0_GgoHI0ydoFtYp.uK7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SD4XJ9ak2Opf9dalLYn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9zKw3HQUyTdpAwll8Dl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EfvDenRUyhGs40SsU3T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S4PxeuJEyR3_Acbu6Ef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yOfGAIl0OQb06RWjloD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Wekp_oq0CX7xLe83wF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qU4sAewkeUvWahJYrnf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URW5Q2jEqqhCuLKKCkR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_vMgO7ckabt_ex98S0P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_BuYfShEerFmXOQmYxr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TkyPp59Uqln_pvK_eZW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s7SV3av0OZJs43jheZp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8Azgxiokm403k1IWhRP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9PneRRW0qv0c1fNAhKZ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6aO2SK_Eyg1FdOraFyM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sb7Ygi502pNabZx8YG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Ro8EESt0i1xy39G60yr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02Kz9YkUG21ZZk3Iciq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xzGWeiD0C7CQ4B4h3tu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OkEv1RBU6Ht4UzQVt7D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fdFmhrik2Wqy785SJhV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69WBc4CUCGVFr6cC51K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cdp27U1EOWj8jm8RbDJ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xzGWeiD0C7CQ4B4h3tu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OkEv1RBU6Ht4UzQVt7D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02Kz9YkUG21ZZk3Iciq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xzGWeiD0C7CQ4B4h3tu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OkEv1RBU6Ht4UzQVt7D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fdFmhrik2Wqy785SJhV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69WBc4CUCGVFr6cC51K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xzGWeiD0C7CQ4B4h3tu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OkEv1RBU6Ht4UzQVt7D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9O5IiGUUWAJL23ZfMuu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69WBc4CUCGVFr6cC51K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69WBc4CUCGVFr6cC51K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qU4sAewkeUvWahJYrnf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qU4sAewkeUvWahJYrnf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qU4sAewkeUvWahJYrnf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qU4sAewkeUvWahJYrnf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qU4sAewkeUvWahJYrnf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qU4sAewkeUvWahJYrnf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qU4sAewkeUvWahJYrnf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qU4sAewkeUvWahJYrnf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JeDwJuDU.r3il8tbyh5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n2QrQkrkScAwhnQN6KN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rn54B1f0utC5lrTUoR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ZQ0u41WUWdIXSFk.taP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EFQFYDvUi4erUcgr5ue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ki2Iksn0asSJyKEdq2S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DONG Energy standard">
      <a:dk1>
        <a:sysClr val="windowText" lastClr="000000"/>
      </a:dk1>
      <a:lt1>
        <a:sysClr val="window" lastClr="FFFFFF"/>
      </a:lt1>
      <a:dk2>
        <a:srgbClr val="464641"/>
      </a:dk2>
      <a:lt2>
        <a:srgbClr val="0F96AA"/>
      </a:lt2>
      <a:accent1>
        <a:srgbClr val="B4C328"/>
      </a:accent1>
      <a:accent2>
        <a:srgbClr val="0F4B5F"/>
      </a:accent2>
      <a:accent3>
        <a:srgbClr val="B4B4A5"/>
      </a:accent3>
      <a:accent4>
        <a:srgbClr val="6E7319"/>
      </a:accent4>
      <a:accent5>
        <a:srgbClr val="B4D7E1"/>
      </a:accent5>
      <a:accent6>
        <a:srgbClr val="BEAF5A"/>
      </a:accent6>
      <a:hlink>
        <a:srgbClr val="787D78"/>
      </a:hlink>
      <a:folHlink>
        <a:srgbClr val="262626"/>
      </a:folHlink>
    </a:clrScheme>
    <a:fontScheme name="DONG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R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tabLst/>
          <a:defRPr kumimoji="0" sz="18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2"/>
        </a:solidFill>
        <a:ln w="12700" cap="flat" cmpd="sng" algn="ctr">
          <a:solidFill>
            <a:schemeClr val="bg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</a:objectDefaults>
  <a:extraClrSchemeLst>
    <a:extraClrScheme>
      <a:clrScheme name="DONG energy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ONG energy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ONG energy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ONG energy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ONG energy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ONG energy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NG energy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NG energy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NG energy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NG energy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NG energy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NG energy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NG energy 13">
        <a:dk1>
          <a:srgbClr val="000000"/>
        </a:dk1>
        <a:lt1>
          <a:srgbClr val="FFFFFF"/>
        </a:lt1>
        <a:dk2>
          <a:srgbClr val="7F847B"/>
        </a:dk2>
        <a:lt2>
          <a:srgbClr val="C30F10"/>
        </a:lt2>
        <a:accent1>
          <a:srgbClr val="B5BAAF"/>
        </a:accent1>
        <a:accent2>
          <a:srgbClr val="0E98AE"/>
        </a:accent2>
        <a:accent3>
          <a:srgbClr val="FFFFFF"/>
        </a:accent3>
        <a:accent4>
          <a:srgbClr val="000000"/>
        </a:accent4>
        <a:accent5>
          <a:srgbClr val="D7D9D4"/>
        </a:accent5>
        <a:accent6>
          <a:srgbClr val="0C899D"/>
        </a:accent6>
        <a:hlink>
          <a:srgbClr val="B9C523"/>
        </a:hlink>
        <a:folHlink>
          <a:srgbClr val="FF8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6_DONG ENERGY_CF_NRG043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464641"/>
      </a:lt2>
      <a:accent1>
        <a:srgbClr val="0F4B5F"/>
      </a:accent1>
      <a:accent2>
        <a:srgbClr val="B4C328"/>
      </a:accent2>
      <a:accent3>
        <a:srgbClr val="B4B4A5"/>
      </a:accent3>
      <a:accent4>
        <a:srgbClr val="6E7319"/>
      </a:accent4>
      <a:accent5>
        <a:srgbClr val="B4D7E1"/>
      </a:accent5>
      <a:accent6>
        <a:srgbClr val="808080"/>
      </a:accent6>
      <a:hlink>
        <a:srgbClr val="B4B4A5"/>
      </a:hlink>
      <a:folHlink>
        <a:srgbClr val="6E731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464641"/>
        </a:lt2>
        <a:accent1>
          <a:srgbClr val="0F4B5F"/>
        </a:accent1>
        <a:accent2>
          <a:srgbClr val="B4C328"/>
        </a:accent2>
        <a:accent3>
          <a:srgbClr val="B4B4A5"/>
        </a:accent3>
        <a:accent4>
          <a:srgbClr val="6E7319"/>
        </a:accent4>
        <a:accent5>
          <a:srgbClr val="B4D7E1"/>
        </a:accent5>
        <a:accent6>
          <a:srgbClr val="808080"/>
        </a:accent6>
        <a:hlink>
          <a:srgbClr val="B4B4A5"/>
        </a:hlink>
        <a:folHlink>
          <a:srgbClr val="6E731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7_DONG ENERGY_CF_NRG043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464641"/>
      </a:lt2>
      <a:accent1>
        <a:srgbClr val="0F4B5F"/>
      </a:accent1>
      <a:accent2>
        <a:srgbClr val="B4C328"/>
      </a:accent2>
      <a:accent3>
        <a:srgbClr val="B4B4A5"/>
      </a:accent3>
      <a:accent4>
        <a:srgbClr val="6E7319"/>
      </a:accent4>
      <a:accent5>
        <a:srgbClr val="B4D7E1"/>
      </a:accent5>
      <a:accent6>
        <a:srgbClr val="808080"/>
      </a:accent6>
      <a:hlink>
        <a:srgbClr val="B4B4A5"/>
      </a:hlink>
      <a:folHlink>
        <a:srgbClr val="6E731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464641"/>
        </a:lt2>
        <a:accent1>
          <a:srgbClr val="0F4B5F"/>
        </a:accent1>
        <a:accent2>
          <a:srgbClr val="B4C328"/>
        </a:accent2>
        <a:accent3>
          <a:srgbClr val="B4B4A5"/>
        </a:accent3>
        <a:accent4>
          <a:srgbClr val="6E7319"/>
        </a:accent4>
        <a:accent5>
          <a:srgbClr val="B4D7E1"/>
        </a:accent5>
        <a:accent6>
          <a:srgbClr val="808080"/>
        </a:accent6>
        <a:hlink>
          <a:srgbClr val="B4B4A5"/>
        </a:hlink>
        <a:folHlink>
          <a:srgbClr val="6E731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ONG ENERGY_CF_NRG043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464641"/>
      </a:lt2>
      <a:accent1>
        <a:srgbClr val="0F4B5F"/>
      </a:accent1>
      <a:accent2>
        <a:srgbClr val="B4C328"/>
      </a:accent2>
      <a:accent3>
        <a:srgbClr val="B4B4A5"/>
      </a:accent3>
      <a:accent4>
        <a:srgbClr val="6E7319"/>
      </a:accent4>
      <a:accent5>
        <a:srgbClr val="B4D7E1"/>
      </a:accent5>
      <a:accent6>
        <a:srgbClr val="808080"/>
      </a:accent6>
      <a:hlink>
        <a:srgbClr val="B4B4A5"/>
      </a:hlink>
      <a:folHlink>
        <a:srgbClr val="6E731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464641"/>
        </a:lt2>
        <a:accent1>
          <a:srgbClr val="0F4B5F"/>
        </a:accent1>
        <a:accent2>
          <a:srgbClr val="B4C328"/>
        </a:accent2>
        <a:accent3>
          <a:srgbClr val="B4B4A5"/>
        </a:accent3>
        <a:accent4>
          <a:srgbClr val="6E7319"/>
        </a:accent4>
        <a:accent5>
          <a:srgbClr val="B4D7E1"/>
        </a:accent5>
        <a:accent6>
          <a:srgbClr val="808080"/>
        </a:accent6>
        <a:hlink>
          <a:srgbClr val="B4B4A5"/>
        </a:hlink>
        <a:folHlink>
          <a:srgbClr val="6E731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DONG ENERGY_CF_NRG043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464641"/>
      </a:lt2>
      <a:accent1>
        <a:srgbClr val="0F4B5F"/>
      </a:accent1>
      <a:accent2>
        <a:srgbClr val="B4C328"/>
      </a:accent2>
      <a:accent3>
        <a:srgbClr val="B4B4A5"/>
      </a:accent3>
      <a:accent4>
        <a:srgbClr val="6E7319"/>
      </a:accent4>
      <a:accent5>
        <a:srgbClr val="B4D7E1"/>
      </a:accent5>
      <a:accent6>
        <a:srgbClr val="808080"/>
      </a:accent6>
      <a:hlink>
        <a:srgbClr val="B4B4A5"/>
      </a:hlink>
      <a:folHlink>
        <a:srgbClr val="6E731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464641"/>
        </a:lt2>
        <a:accent1>
          <a:srgbClr val="0F4B5F"/>
        </a:accent1>
        <a:accent2>
          <a:srgbClr val="B4C328"/>
        </a:accent2>
        <a:accent3>
          <a:srgbClr val="B4B4A5"/>
        </a:accent3>
        <a:accent4>
          <a:srgbClr val="6E7319"/>
        </a:accent4>
        <a:accent5>
          <a:srgbClr val="B4D7E1"/>
        </a:accent5>
        <a:accent6>
          <a:srgbClr val="808080"/>
        </a:accent6>
        <a:hlink>
          <a:srgbClr val="B4B4A5"/>
        </a:hlink>
        <a:folHlink>
          <a:srgbClr val="6E731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DONG ENERGY_CF_NRG043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464641"/>
      </a:lt2>
      <a:accent1>
        <a:srgbClr val="0F4B5F"/>
      </a:accent1>
      <a:accent2>
        <a:srgbClr val="B4C328"/>
      </a:accent2>
      <a:accent3>
        <a:srgbClr val="B4B4A5"/>
      </a:accent3>
      <a:accent4>
        <a:srgbClr val="6E7319"/>
      </a:accent4>
      <a:accent5>
        <a:srgbClr val="B4D7E1"/>
      </a:accent5>
      <a:accent6>
        <a:srgbClr val="808080"/>
      </a:accent6>
      <a:hlink>
        <a:srgbClr val="B4B4A5"/>
      </a:hlink>
      <a:folHlink>
        <a:srgbClr val="6E731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464641"/>
        </a:lt2>
        <a:accent1>
          <a:srgbClr val="0F4B5F"/>
        </a:accent1>
        <a:accent2>
          <a:srgbClr val="B4C328"/>
        </a:accent2>
        <a:accent3>
          <a:srgbClr val="B4B4A5"/>
        </a:accent3>
        <a:accent4>
          <a:srgbClr val="6E7319"/>
        </a:accent4>
        <a:accent5>
          <a:srgbClr val="B4D7E1"/>
        </a:accent5>
        <a:accent6>
          <a:srgbClr val="808080"/>
        </a:accent6>
        <a:hlink>
          <a:srgbClr val="B4B4A5"/>
        </a:hlink>
        <a:folHlink>
          <a:srgbClr val="6E731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DONG ENERGY_CF_NRG043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464641"/>
      </a:lt2>
      <a:accent1>
        <a:srgbClr val="0F4B5F"/>
      </a:accent1>
      <a:accent2>
        <a:srgbClr val="B4C328"/>
      </a:accent2>
      <a:accent3>
        <a:srgbClr val="B4B4A5"/>
      </a:accent3>
      <a:accent4>
        <a:srgbClr val="6E7319"/>
      </a:accent4>
      <a:accent5>
        <a:srgbClr val="B4D7E1"/>
      </a:accent5>
      <a:accent6>
        <a:srgbClr val="808080"/>
      </a:accent6>
      <a:hlink>
        <a:srgbClr val="B4B4A5"/>
      </a:hlink>
      <a:folHlink>
        <a:srgbClr val="6E731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464641"/>
        </a:lt2>
        <a:accent1>
          <a:srgbClr val="0F4B5F"/>
        </a:accent1>
        <a:accent2>
          <a:srgbClr val="B4C328"/>
        </a:accent2>
        <a:accent3>
          <a:srgbClr val="B4B4A5"/>
        </a:accent3>
        <a:accent4>
          <a:srgbClr val="6E7319"/>
        </a:accent4>
        <a:accent5>
          <a:srgbClr val="B4D7E1"/>
        </a:accent5>
        <a:accent6>
          <a:srgbClr val="808080"/>
        </a:accent6>
        <a:hlink>
          <a:srgbClr val="B4B4A5"/>
        </a:hlink>
        <a:folHlink>
          <a:srgbClr val="6E731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DONG ENERGY_CF_NRG043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464641"/>
      </a:lt2>
      <a:accent1>
        <a:srgbClr val="0F4B5F"/>
      </a:accent1>
      <a:accent2>
        <a:srgbClr val="B4C328"/>
      </a:accent2>
      <a:accent3>
        <a:srgbClr val="B4B4A5"/>
      </a:accent3>
      <a:accent4>
        <a:srgbClr val="6E7319"/>
      </a:accent4>
      <a:accent5>
        <a:srgbClr val="B4D7E1"/>
      </a:accent5>
      <a:accent6>
        <a:srgbClr val="808080"/>
      </a:accent6>
      <a:hlink>
        <a:srgbClr val="B4B4A5"/>
      </a:hlink>
      <a:folHlink>
        <a:srgbClr val="6E731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464641"/>
        </a:lt2>
        <a:accent1>
          <a:srgbClr val="0F4B5F"/>
        </a:accent1>
        <a:accent2>
          <a:srgbClr val="B4C328"/>
        </a:accent2>
        <a:accent3>
          <a:srgbClr val="B4B4A5"/>
        </a:accent3>
        <a:accent4>
          <a:srgbClr val="6E7319"/>
        </a:accent4>
        <a:accent5>
          <a:srgbClr val="B4D7E1"/>
        </a:accent5>
        <a:accent6>
          <a:srgbClr val="808080"/>
        </a:accent6>
        <a:hlink>
          <a:srgbClr val="B4B4A5"/>
        </a:hlink>
        <a:folHlink>
          <a:srgbClr val="6E731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5_DONG ENERGY_CF_NRG043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464641"/>
      </a:lt2>
      <a:accent1>
        <a:srgbClr val="0F4B5F"/>
      </a:accent1>
      <a:accent2>
        <a:srgbClr val="B4C328"/>
      </a:accent2>
      <a:accent3>
        <a:srgbClr val="B4B4A5"/>
      </a:accent3>
      <a:accent4>
        <a:srgbClr val="6E7319"/>
      </a:accent4>
      <a:accent5>
        <a:srgbClr val="B4D7E1"/>
      </a:accent5>
      <a:accent6>
        <a:srgbClr val="808080"/>
      </a:accent6>
      <a:hlink>
        <a:srgbClr val="B4B4A5"/>
      </a:hlink>
      <a:folHlink>
        <a:srgbClr val="6E731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464641"/>
        </a:lt2>
        <a:accent1>
          <a:srgbClr val="0F4B5F"/>
        </a:accent1>
        <a:accent2>
          <a:srgbClr val="B4C328"/>
        </a:accent2>
        <a:accent3>
          <a:srgbClr val="B4B4A5"/>
        </a:accent3>
        <a:accent4>
          <a:srgbClr val="6E7319"/>
        </a:accent4>
        <a:accent5>
          <a:srgbClr val="B4D7E1"/>
        </a:accent5>
        <a:accent6>
          <a:srgbClr val="808080"/>
        </a:accent6>
        <a:hlink>
          <a:srgbClr val="B4B4A5"/>
        </a:hlink>
        <a:folHlink>
          <a:srgbClr val="6E731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9_DONG ENERGY_CF_NRG043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464641"/>
      </a:lt2>
      <a:accent1>
        <a:srgbClr val="0F4B5F"/>
      </a:accent1>
      <a:accent2>
        <a:srgbClr val="B4C328"/>
      </a:accent2>
      <a:accent3>
        <a:srgbClr val="B4B4A5"/>
      </a:accent3>
      <a:accent4>
        <a:srgbClr val="6E7319"/>
      </a:accent4>
      <a:accent5>
        <a:srgbClr val="B4D7E1"/>
      </a:accent5>
      <a:accent6>
        <a:srgbClr val="808080"/>
      </a:accent6>
      <a:hlink>
        <a:srgbClr val="B4B4A5"/>
      </a:hlink>
      <a:folHlink>
        <a:srgbClr val="6E731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464641"/>
        </a:lt2>
        <a:accent1>
          <a:srgbClr val="0F4B5F"/>
        </a:accent1>
        <a:accent2>
          <a:srgbClr val="B4C328"/>
        </a:accent2>
        <a:accent3>
          <a:srgbClr val="B4B4A5"/>
        </a:accent3>
        <a:accent4>
          <a:srgbClr val="6E7319"/>
        </a:accent4>
        <a:accent5>
          <a:srgbClr val="B4D7E1"/>
        </a:accent5>
        <a:accent6>
          <a:srgbClr val="808080"/>
        </a:accent6>
        <a:hlink>
          <a:srgbClr val="B4B4A5"/>
        </a:hlink>
        <a:folHlink>
          <a:srgbClr val="6E731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20_DONG ENERGY_CF_NRG043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464641"/>
      </a:lt2>
      <a:accent1>
        <a:srgbClr val="0F4B5F"/>
      </a:accent1>
      <a:accent2>
        <a:srgbClr val="B4C328"/>
      </a:accent2>
      <a:accent3>
        <a:srgbClr val="B4B4A5"/>
      </a:accent3>
      <a:accent4>
        <a:srgbClr val="6E7319"/>
      </a:accent4>
      <a:accent5>
        <a:srgbClr val="B4D7E1"/>
      </a:accent5>
      <a:accent6>
        <a:srgbClr val="808080"/>
      </a:accent6>
      <a:hlink>
        <a:srgbClr val="B4B4A5"/>
      </a:hlink>
      <a:folHlink>
        <a:srgbClr val="6E731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464641"/>
        </a:lt2>
        <a:accent1>
          <a:srgbClr val="0F4B5F"/>
        </a:accent1>
        <a:accent2>
          <a:srgbClr val="B4C328"/>
        </a:accent2>
        <a:accent3>
          <a:srgbClr val="B4B4A5"/>
        </a:accent3>
        <a:accent4>
          <a:srgbClr val="6E7319"/>
        </a:accent4>
        <a:accent5>
          <a:srgbClr val="B4D7E1"/>
        </a:accent5>
        <a:accent6>
          <a:srgbClr val="808080"/>
        </a:accent6>
        <a:hlink>
          <a:srgbClr val="B4B4A5"/>
        </a:hlink>
        <a:folHlink>
          <a:srgbClr val="6E731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08</Words>
  <Application>Microsoft Macintosh PowerPoint</Application>
  <PresentationFormat>On-screen Show (4:3)</PresentationFormat>
  <Paragraphs>134</Paragraphs>
  <Slides>14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6" baseType="lpstr">
      <vt:lpstr>Blank</vt:lpstr>
      <vt:lpstr>DONG ENERGY_CF_NRG043</vt:lpstr>
      <vt:lpstr>4_DONG ENERGY_CF_NRG043</vt:lpstr>
      <vt:lpstr>1_DONG ENERGY_CF_NRG043</vt:lpstr>
      <vt:lpstr>2_DONG ENERGY_CF_NRG043</vt:lpstr>
      <vt:lpstr>3_DONG ENERGY_CF_NRG043</vt:lpstr>
      <vt:lpstr>5_DONG ENERGY_CF_NRG043</vt:lpstr>
      <vt:lpstr>19_DONG ENERGY_CF_NRG043</vt:lpstr>
      <vt:lpstr>20_DONG ENERGY_CF_NRG043</vt:lpstr>
      <vt:lpstr>6_DONG ENERGY_CF_NRG043</vt:lpstr>
      <vt:lpstr>7_DONG ENERGY_CF_NRG043</vt:lpstr>
      <vt:lpstr>think-cell Slide</vt:lpstr>
      <vt:lpstr>Bringing Off-Shore Wind to New England's Shores </vt:lpstr>
      <vt:lpstr>DONG Energy Wind Power is the global market leader in Offshore Wind </vt:lpstr>
      <vt:lpstr>Key learnings from pioneering offshore wind transmission</vt:lpstr>
      <vt:lpstr>Scope of offshore grid connection in Northern Europe</vt:lpstr>
      <vt:lpstr>HVAC vs HVDC, based on Hornsea “One” 1,2 GW, 160 – 190 km </vt:lpstr>
      <vt:lpstr>Hornsea One HVAC</vt:lpstr>
      <vt:lpstr>Export cable – the weakest and most expensive part </vt:lpstr>
      <vt:lpstr>Interlink between platforms</vt:lpstr>
      <vt:lpstr>Thank you for listening!</vt:lpstr>
      <vt:lpstr>Back-up</vt:lpstr>
      <vt:lpstr>World largest Variable Shunt Reactor; 120-300MVAr, 220kV</vt:lpstr>
      <vt:lpstr>PowerPoint Presentation</vt:lpstr>
      <vt:lpstr>Onshore substation, Racebank</vt:lpstr>
      <vt:lpstr>Offshore subs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5-03-25T09:07:49Z</dcterms:created>
  <dcterms:modified xsi:type="dcterms:W3CDTF">2017-06-15T13:23:17Z</dcterms:modified>
</cp:coreProperties>
</file>